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9"/>
  </p:notesMasterIdLst>
  <p:handoutMasterIdLst>
    <p:handoutMasterId r:id="rId20"/>
  </p:handoutMasterIdLst>
  <p:sldIdLst>
    <p:sldId id="425" r:id="rId2"/>
    <p:sldId id="427" r:id="rId3"/>
    <p:sldId id="329" r:id="rId4"/>
    <p:sldId id="327" r:id="rId5"/>
    <p:sldId id="436" r:id="rId6"/>
    <p:sldId id="437" r:id="rId7"/>
    <p:sldId id="428" r:id="rId8"/>
    <p:sldId id="400" r:id="rId9"/>
    <p:sldId id="429" r:id="rId10"/>
    <p:sldId id="430" r:id="rId11"/>
    <p:sldId id="431" r:id="rId12"/>
    <p:sldId id="432" r:id="rId13"/>
    <p:sldId id="439" r:id="rId14"/>
    <p:sldId id="438" r:id="rId15"/>
    <p:sldId id="434" r:id="rId16"/>
    <p:sldId id="330" r:id="rId17"/>
    <p:sldId id="399" r:id="rId18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72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00"/>
    <a:srgbClr val="EAAB00"/>
    <a:srgbClr val="3F9C35"/>
    <a:srgbClr val="C9DD03"/>
    <a:srgbClr val="D47600"/>
    <a:srgbClr val="006600"/>
    <a:srgbClr val="002776"/>
    <a:srgbClr val="0036A2"/>
    <a:srgbClr val="6163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6F64F1-854D-41F6-8CBD-5F280D70DA14}" v="29" dt="2022-08-09T21:02:34.248"/>
    <p1510:client id="{F15DBAC2-39B6-4172-B25C-45DACD38059C}" v="16" dt="2022-08-10T16:10:58.87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24" autoAdjust="0"/>
    <p:restoredTop sz="90544" autoAdjust="0"/>
  </p:normalViewPr>
  <p:slideViewPr>
    <p:cSldViewPr snapToGrid="0">
      <p:cViewPr varScale="1">
        <p:scale>
          <a:sx n="131" d="100"/>
          <a:sy n="131" d="100"/>
        </p:scale>
        <p:origin x="990" y="126"/>
      </p:cViewPr>
      <p:guideLst>
        <p:guide orient="horz" pos="972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697" y="4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en, Jiajian" userId="688cd47b-9fa9-4323-b4ce-9675c58664e5" providerId="ADAL" clId="{0B6F64F1-854D-41F6-8CBD-5F280D70DA14}"/>
    <pc:docChg chg="undo custSel addSld delSld modSld sldOrd">
      <pc:chgData name="Chen, Jiajian" userId="688cd47b-9fa9-4323-b4ce-9675c58664e5" providerId="ADAL" clId="{0B6F64F1-854D-41F6-8CBD-5F280D70DA14}" dt="2022-08-09T21:02:34.248" v="4411"/>
      <pc:docMkLst>
        <pc:docMk/>
      </pc:docMkLst>
      <pc:sldChg chg="addSp modSp mod">
        <pc:chgData name="Chen, Jiajian" userId="688cd47b-9fa9-4323-b4ce-9675c58664e5" providerId="ADAL" clId="{0B6F64F1-854D-41F6-8CBD-5F280D70DA14}" dt="2022-08-09T19:30:30.959" v="1857" actId="1076"/>
        <pc:sldMkLst>
          <pc:docMk/>
          <pc:sldMk cId="953512192" sldId="327"/>
        </pc:sldMkLst>
        <pc:spChg chg="mod">
          <ac:chgData name="Chen, Jiajian" userId="688cd47b-9fa9-4323-b4ce-9675c58664e5" providerId="ADAL" clId="{0B6F64F1-854D-41F6-8CBD-5F280D70DA14}" dt="2022-08-09T18:55:33.352" v="608" actId="20577"/>
          <ac:spMkLst>
            <pc:docMk/>
            <pc:sldMk cId="953512192" sldId="327"/>
            <ac:spMk id="2" creationId="{00000000-0000-0000-0000-000000000000}"/>
          </ac:spMkLst>
        </pc:spChg>
        <pc:spChg chg="mod">
          <ac:chgData name="Chen, Jiajian" userId="688cd47b-9fa9-4323-b4ce-9675c58664e5" providerId="ADAL" clId="{0B6F64F1-854D-41F6-8CBD-5F280D70DA14}" dt="2022-08-09T19:26:54.676" v="1770" actId="20577"/>
          <ac:spMkLst>
            <pc:docMk/>
            <pc:sldMk cId="953512192" sldId="327"/>
            <ac:spMk id="3" creationId="{00000000-0000-0000-0000-000000000000}"/>
          </ac:spMkLst>
        </pc:spChg>
        <pc:spChg chg="add mod">
          <ac:chgData name="Chen, Jiajian" userId="688cd47b-9fa9-4323-b4ce-9675c58664e5" providerId="ADAL" clId="{0B6F64F1-854D-41F6-8CBD-5F280D70DA14}" dt="2022-08-09T19:30:27.081" v="1856" actId="164"/>
          <ac:spMkLst>
            <pc:docMk/>
            <pc:sldMk cId="953512192" sldId="327"/>
            <ac:spMk id="4" creationId="{3ACF8BF6-5148-4E4C-B798-4FE674093D14}"/>
          </ac:spMkLst>
        </pc:spChg>
        <pc:spChg chg="add mod">
          <ac:chgData name="Chen, Jiajian" userId="688cd47b-9fa9-4323-b4ce-9675c58664e5" providerId="ADAL" clId="{0B6F64F1-854D-41F6-8CBD-5F280D70DA14}" dt="2022-08-09T19:30:27.081" v="1856" actId="164"/>
          <ac:spMkLst>
            <pc:docMk/>
            <pc:sldMk cId="953512192" sldId="327"/>
            <ac:spMk id="9" creationId="{36869D7B-FE27-474E-8AA2-5186F0697640}"/>
          </ac:spMkLst>
        </pc:spChg>
        <pc:spChg chg="add mod">
          <ac:chgData name="Chen, Jiajian" userId="688cd47b-9fa9-4323-b4ce-9675c58664e5" providerId="ADAL" clId="{0B6F64F1-854D-41F6-8CBD-5F280D70DA14}" dt="2022-08-09T19:30:27.081" v="1856" actId="164"/>
          <ac:spMkLst>
            <pc:docMk/>
            <pc:sldMk cId="953512192" sldId="327"/>
            <ac:spMk id="10" creationId="{6461D294-F48D-43DB-97E0-CB46AF795872}"/>
          </ac:spMkLst>
        </pc:spChg>
        <pc:spChg chg="add mod">
          <ac:chgData name="Chen, Jiajian" userId="688cd47b-9fa9-4323-b4ce-9675c58664e5" providerId="ADAL" clId="{0B6F64F1-854D-41F6-8CBD-5F280D70DA14}" dt="2022-08-09T19:30:27.081" v="1856" actId="164"/>
          <ac:spMkLst>
            <pc:docMk/>
            <pc:sldMk cId="953512192" sldId="327"/>
            <ac:spMk id="11" creationId="{EF12952E-2A8C-448D-A2A3-B1FB887EFF5F}"/>
          </ac:spMkLst>
        </pc:spChg>
        <pc:grpChg chg="add mod">
          <ac:chgData name="Chen, Jiajian" userId="688cd47b-9fa9-4323-b4ce-9675c58664e5" providerId="ADAL" clId="{0B6F64F1-854D-41F6-8CBD-5F280D70DA14}" dt="2022-08-09T19:30:30.959" v="1857" actId="1076"/>
          <ac:grpSpMkLst>
            <pc:docMk/>
            <pc:sldMk cId="953512192" sldId="327"/>
            <ac:grpSpMk id="13" creationId="{9C6B0D63-10A5-4A50-910F-89E3CAFB8C4D}"/>
          </ac:grpSpMkLst>
        </pc:grpChg>
        <pc:cxnChg chg="add mod">
          <ac:chgData name="Chen, Jiajian" userId="688cd47b-9fa9-4323-b4ce-9675c58664e5" providerId="ADAL" clId="{0B6F64F1-854D-41F6-8CBD-5F280D70DA14}" dt="2022-08-09T19:30:27.081" v="1856" actId="164"/>
          <ac:cxnSpMkLst>
            <pc:docMk/>
            <pc:sldMk cId="953512192" sldId="327"/>
            <ac:cxnSpMk id="7" creationId="{6BA31E01-D2F5-44A0-9AE8-0ABAE6EE7926}"/>
          </ac:cxnSpMkLst>
        </pc:cxnChg>
        <pc:cxnChg chg="add mod">
          <ac:chgData name="Chen, Jiajian" userId="688cd47b-9fa9-4323-b4ce-9675c58664e5" providerId="ADAL" clId="{0B6F64F1-854D-41F6-8CBD-5F280D70DA14}" dt="2022-08-09T19:30:27.081" v="1856" actId="164"/>
          <ac:cxnSpMkLst>
            <pc:docMk/>
            <pc:sldMk cId="953512192" sldId="327"/>
            <ac:cxnSpMk id="8" creationId="{6C35FF1B-B3A2-44F3-8662-23C0199CC27B}"/>
          </ac:cxnSpMkLst>
        </pc:cxnChg>
      </pc:sldChg>
      <pc:sldChg chg="modSp del mod">
        <pc:chgData name="Chen, Jiajian" userId="688cd47b-9fa9-4323-b4ce-9675c58664e5" providerId="ADAL" clId="{0B6F64F1-854D-41F6-8CBD-5F280D70DA14}" dt="2022-08-09T19:36:10.399" v="1942" actId="2696"/>
        <pc:sldMkLst>
          <pc:docMk/>
          <pc:sldMk cId="857755420" sldId="328"/>
        </pc:sldMkLst>
        <pc:spChg chg="mod">
          <ac:chgData name="Chen, Jiajian" userId="688cd47b-9fa9-4323-b4ce-9675c58664e5" providerId="ADAL" clId="{0B6F64F1-854D-41F6-8CBD-5F280D70DA14}" dt="2022-08-09T18:09:53.889" v="179" actId="20577"/>
          <ac:spMkLst>
            <pc:docMk/>
            <pc:sldMk cId="857755420" sldId="328"/>
            <ac:spMk id="2" creationId="{00000000-0000-0000-0000-000000000000}"/>
          </ac:spMkLst>
        </pc:spChg>
        <pc:spChg chg="mod">
          <ac:chgData name="Chen, Jiajian" userId="688cd47b-9fa9-4323-b4ce-9675c58664e5" providerId="ADAL" clId="{0B6F64F1-854D-41F6-8CBD-5F280D70DA14}" dt="2022-08-09T18:10:01.561" v="187" actId="20577"/>
          <ac:spMkLst>
            <pc:docMk/>
            <pc:sldMk cId="857755420" sldId="328"/>
            <ac:spMk id="3" creationId="{00000000-0000-0000-0000-000000000000}"/>
          </ac:spMkLst>
        </pc:spChg>
        <pc:spChg chg="mod">
          <ac:chgData name="Chen, Jiajian" userId="688cd47b-9fa9-4323-b4ce-9675c58664e5" providerId="ADAL" clId="{0B6F64F1-854D-41F6-8CBD-5F280D70DA14}" dt="2022-08-09T18:08:18.688" v="90" actId="20577"/>
          <ac:spMkLst>
            <pc:docMk/>
            <pc:sldMk cId="857755420" sldId="328"/>
            <ac:spMk id="4" creationId="{00000000-0000-0000-0000-000000000000}"/>
          </ac:spMkLst>
        </pc:spChg>
        <pc:spChg chg="mod">
          <ac:chgData name="Chen, Jiajian" userId="688cd47b-9fa9-4323-b4ce-9675c58664e5" providerId="ADAL" clId="{0B6F64F1-854D-41F6-8CBD-5F280D70DA14}" dt="2022-08-09T18:07:54.561" v="10" actId="20577"/>
          <ac:spMkLst>
            <pc:docMk/>
            <pc:sldMk cId="857755420" sldId="328"/>
            <ac:spMk id="5" creationId="{00000000-0000-0000-0000-000000000000}"/>
          </ac:spMkLst>
        </pc:spChg>
      </pc:sldChg>
      <pc:sldChg chg="modSp mod">
        <pc:chgData name="Chen, Jiajian" userId="688cd47b-9fa9-4323-b4ce-9675c58664e5" providerId="ADAL" clId="{0B6F64F1-854D-41F6-8CBD-5F280D70DA14}" dt="2022-08-09T18:55:12.426" v="596" actId="20577"/>
        <pc:sldMkLst>
          <pc:docMk/>
          <pc:sldMk cId="4108656189" sldId="329"/>
        </pc:sldMkLst>
        <pc:spChg chg="mod">
          <ac:chgData name="Chen, Jiajian" userId="688cd47b-9fa9-4323-b4ce-9675c58664e5" providerId="ADAL" clId="{0B6F64F1-854D-41F6-8CBD-5F280D70DA14}" dt="2022-08-09T18:55:12.426" v="596" actId="20577"/>
          <ac:spMkLst>
            <pc:docMk/>
            <pc:sldMk cId="4108656189" sldId="329"/>
            <ac:spMk id="2" creationId="{00000000-0000-0000-0000-000000000000}"/>
          </ac:spMkLst>
        </pc:spChg>
        <pc:spChg chg="mod">
          <ac:chgData name="Chen, Jiajian" userId="688cd47b-9fa9-4323-b4ce-9675c58664e5" providerId="ADAL" clId="{0B6F64F1-854D-41F6-8CBD-5F280D70DA14}" dt="2022-08-09T18:53:30.598" v="528" actId="20577"/>
          <ac:spMkLst>
            <pc:docMk/>
            <pc:sldMk cId="4108656189" sldId="329"/>
            <ac:spMk id="7" creationId="{00000000-0000-0000-0000-000000000000}"/>
          </ac:spMkLst>
        </pc:spChg>
      </pc:sldChg>
      <pc:sldChg chg="modSp del mod">
        <pc:chgData name="Chen, Jiajian" userId="688cd47b-9fa9-4323-b4ce-9675c58664e5" providerId="ADAL" clId="{0B6F64F1-854D-41F6-8CBD-5F280D70DA14}" dt="2022-08-09T20:34:09.887" v="3985" actId="2696"/>
        <pc:sldMkLst>
          <pc:docMk/>
          <pc:sldMk cId="1225675693" sldId="356"/>
        </pc:sldMkLst>
        <pc:spChg chg="mod">
          <ac:chgData name="Chen, Jiajian" userId="688cd47b-9fa9-4323-b4ce-9675c58664e5" providerId="ADAL" clId="{0B6F64F1-854D-41F6-8CBD-5F280D70DA14}" dt="2022-08-09T20:25:15.742" v="3759"/>
          <ac:spMkLst>
            <pc:docMk/>
            <pc:sldMk cId="1225675693" sldId="356"/>
            <ac:spMk id="2" creationId="{00000000-0000-0000-0000-000000000000}"/>
          </ac:spMkLst>
        </pc:spChg>
      </pc:sldChg>
      <pc:sldChg chg="addSp delSp modSp mod">
        <pc:chgData name="Chen, Jiajian" userId="688cd47b-9fa9-4323-b4ce-9675c58664e5" providerId="ADAL" clId="{0B6F64F1-854D-41F6-8CBD-5F280D70DA14}" dt="2022-08-09T19:47:25.152" v="2735" actId="20577"/>
        <pc:sldMkLst>
          <pc:docMk/>
          <pc:sldMk cId="1699047536" sldId="400"/>
        </pc:sldMkLst>
        <pc:spChg chg="mod">
          <ac:chgData name="Chen, Jiajian" userId="688cd47b-9fa9-4323-b4ce-9675c58664e5" providerId="ADAL" clId="{0B6F64F1-854D-41F6-8CBD-5F280D70DA14}" dt="2022-08-09T19:40:38.560" v="2127"/>
          <ac:spMkLst>
            <pc:docMk/>
            <pc:sldMk cId="1699047536" sldId="400"/>
            <ac:spMk id="2" creationId="{00000000-0000-0000-0000-000000000000}"/>
          </ac:spMkLst>
        </pc:spChg>
        <pc:spChg chg="mod">
          <ac:chgData name="Chen, Jiajian" userId="688cd47b-9fa9-4323-b4ce-9675c58664e5" providerId="ADAL" clId="{0B6F64F1-854D-41F6-8CBD-5F280D70DA14}" dt="2022-08-09T19:46:18.734" v="2625" actId="15"/>
          <ac:spMkLst>
            <pc:docMk/>
            <pc:sldMk cId="1699047536" sldId="400"/>
            <ac:spMk id="3" creationId="{00000000-0000-0000-0000-000000000000}"/>
          </ac:spMkLst>
        </pc:spChg>
        <pc:spChg chg="del mod">
          <ac:chgData name="Chen, Jiajian" userId="688cd47b-9fa9-4323-b4ce-9675c58664e5" providerId="ADAL" clId="{0B6F64F1-854D-41F6-8CBD-5F280D70DA14}" dt="2022-08-09T19:46:32.838" v="2627" actId="478"/>
          <ac:spMkLst>
            <pc:docMk/>
            <pc:sldMk cId="1699047536" sldId="400"/>
            <ac:spMk id="4" creationId="{00000000-0000-0000-0000-000000000000}"/>
          </ac:spMkLst>
        </pc:spChg>
        <pc:spChg chg="add mod">
          <ac:chgData name="Chen, Jiajian" userId="688cd47b-9fa9-4323-b4ce-9675c58664e5" providerId="ADAL" clId="{0B6F64F1-854D-41F6-8CBD-5F280D70DA14}" dt="2022-08-09T19:47:25.152" v="2735" actId="20577"/>
          <ac:spMkLst>
            <pc:docMk/>
            <pc:sldMk cId="1699047536" sldId="400"/>
            <ac:spMk id="8" creationId="{9C988C85-67C2-4EAE-9497-698665D6EC19}"/>
          </ac:spMkLst>
        </pc:spChg>
        <pc:picChg chg="add mod">
          <ac:chgData name="Chen, Jiajian" userId="688cd47b-9fa9-4323-b4ce-9675c58664e5" providerId="ADAL" clId="{0B6F64F1-854D-41F6-8CBD-5F280D70DA14}" dt="2022-08-09T19:45:46.184" v="2620" actId="1076"/>
          <ac:picMkLst>
            <pc:docMk/>
            <pc:sldMk cId="1699047536" sldId="400"/>
            <ac:picMk id="6" creationId="{91DB19CE-2070-4B97-993A-13068F391D9E}"/>
          </ac:picMkLst>
        </pc:picChg>
      </pc:sldChg>
      <pc:sldChg chg="modSp add del mod">
        <pc:chgData name="Chen, Jiajian" userId="688cd47b-9fa9-4323-b4ce-9675c58664e5" providerId="ADAL" clId="{0B6F64F1-854D-41F6-8CBD-5F280D70DA14}" dt="2022-08-09T19:36:58.011" v="1953" actId="2696"/>
        <pc:sldMkLst>
          <pc:docMk/>
          <pc:sldMk cId="3605902144" sldId="422"/>
        </pc:sldMkLst>
        <pc:spChg chg="mod">
          <ac:chgData name="Chen, Jiajian" userId="688cd47b-9fa9-4323-b4ce-9675c58664e5" providerId="ADAL" clId="{0B6F64F1-854D-41F6-8CBD-5F280D70DA14}" dt="2022-08-09T18:52:24.715" v="513" actId="20577"/>
          <ac:spMkLst>
            <pc:docMk/>
            <pc:sldMk cId="3605902144" sldId="422"/>
            <ac:spMk id="3" creationId="{1D62485D-94E8-E54E-9FD8-CF20CFCAD3DE}"/>
          </ac:spMkLst>
        </pc:spChg>
      </pc:sldChg>
      <pc:sldChg chg="add del">
        <pc:chgData name="Chen, Jiajian" userId="688cd47b-9fa9-4323-b4ce-9675c58664e5" providerId="ADAL" clId="{0B6F64F1-854D-41F6-8CBD-5F280D70DA14}" dt="2022-08-09T19:37:07.123" v="1955" actId="47"/>
        <pc:sldMkLst>
          <pc:docMk/>
          <pc:sldMk cId="3578955794" sldId="423"/>
        </pc:sldMkLst>
      </pc:sldChg>
      <pc:sldChg chg="new del">
        <pc:chgData name="Chen, Jiajian" userId="688cd47b-9fa9-4323-b4ce-9675c58664e5" providerId="ADAL" clId="{0B6F64F1-854D-41F6-8CBD-5F280D70DA14}" dt="2022-08-09T19:37:04.420" v="1954" actId="47"/>
        <pc:sldMkLst>
          <pc:docMk/>
          <pc:sldMk cId="1719707150" sldId="424"/>
        </pc:sldMkLst>
      </pc:sldChg>
      <pc:sldChg chg="addSp delSp modSp new mod ord">
        <pc:chgData name="Chen, Jiajian" userId="688cd47b-9fa9-4323-b4ce-9675c58664e5" providerId="ADAL" clId="{0B6F64F1-854D-41F6-8CBD-5F280D70DA14}" dt="2022-08-09T19:36:01.750" v="1941"/>
        <pc:sldMkLst>
          <pc:docMk/>
          <pc:sldMk cId="2026957187" sldId="425"/>
        </pc:sldMkLst>
        <pc:spChg chg="del">
          <ac:chgData name="Chen, Jiajian" userId="688cd47b-9fa9-4323-b4ce-9675c58664e5" providerId="ADAL" clId="{0B6F64F1-854D-41F6-8CBD-5F280D70DA14}" dt="2022-08-09T19:35:54.201" v="1936" actId="478"/>
          <ac:spMkLst>
            <pc:docMk/>
            <pc:sldMk cId="2026957187" sldId="425"/>
            <ac:spMk id="2" creationId="{124CB0AC-97F9-4A9F-81AA-C58E67765153}"/>
          </ac:spMkLst>
        </pc:spChg>
        <pc:spChg chg="del">
          <ac:chgData name="Chen, Jiajian" userId="688cd47b-9fa9-4323-b4ce-9675c58664e5" providerId="ADAL" clId="{0B6F64F1-854D-41F6-8CBD-5F280D70DA14}" dt="2022-08-09T19:35:56.641" v="1938" actId="478"/>
          <ac:spMkLst>
            <pc:docMk/>
            <pc:sldMk cId="2026957187" sldId="425"/>
            <ac:spMk id="3" creationId="{0737379A-FE09-49E4-90FC-36E2DAF4263D}"/>
          </ac:spMkLst>
        </pc:spChg>
        <pc:spChg chg="del">
          <ac:chgData name="Chen, Jiajian" userId="688cd47b-9fa9-4323-b4ce-9675c58664e5" providerId="ADAL" clId="{0B6F64F1-854D-41F6-8CBD-5F280D70DA14}" dt="2022-08-09T19:35:52.954" v="1935" actId="478"/>
          <ac:spMkLst>
            <pc:docMk/>
            <pc:sldMk cId="2026957187" sldId="425"/>
            <ac:spMk id="4" creationId="{A927B55F-F912-4049-8A2F-CD0C21A018D1}"/>
          </ac:spMkLst>
        </pc:spChg>
        <pc:spChg chg="del">
          <ac:chgData name="Chen, Jiajian" userId="688cd47b-9fa9-4323-b4ce-9675c58664e5" providerId="ADAL" clId="{0B6F64F1-854D-41F6-8CBD-5F280D70DA14}" dt="2022-08-09T19:35:55.816" v="1937" actId="478"/>
          <ac:spMkLst>
            <pc:docMk/>
            <pc:sldMk cId="2026957187" sldId="425"/>
            <ac:spMk id="5" creationId="{0F346DC9-0E9B-4D67-A8A6-D6E6CD135095}"/>
          </ac:spMkLst>
        </pc:spChg>
        <pc:spChg chg="add del mod">
          <ac:chgData name="Chen, Jiajian" userId="688cd47b-9fa9-4323-b4ce-9675c58664e5" providerId="ADAL" clId="{0B6F64F1-854D-41F6-8CBD-5F280D70DA14}" dt="2022-08-09T19:35:49.907" v="1934"/>
          <ac:spMkLst>
            <pc:docMk/>
            <pc:sldMk cId="2026957187" sldId="425"/>
            <ac:spMk id="6" creationId="{36B34E68-2DF1-4BEA-BA37-CC2D5D062147}"/>
          </ac:spMkLst>
        </pc:spChg>
        <pc:spChg chg="add del mod">
          <ac:chgData name="Chen, Jiajian" userId="688cd47b-9fa9-4323-b4ce-9675c58664e5" providerId="ADAL" clId="{0B6F64F1-854D-41F6-8CBD-5F280D70DA14}" dt="2022-08-09T19:35:49.907" v="1934"/>
          <ac:spMkLst>
            <pc:docMk/>
            <pc:sldMk cId="2026957187" sldId="425"/>
            <ac:spMk id="7" creationId="{E4CCD9B8-2DB1-4B20-9308-94674C760F8C}"/>
          </ac:spMkLst>
        </pc:spChg>
        <pc:spChg chg="add del mod">
          <ac:chgData name="Chen, Jiajian" userId="688cd47b-9fa9-4323-b4ce-9675c58664e5" providerId="ADAL" clId="{0B6F64F1-854D-41F6-8CBD-5F280D70DA14}" dt="2022-08-09T19:35:49.907" v="1934"/>
          <ac:spMkLst>
            <pc:docMk/>
            <pc:sldMk cId="2026957187" sldId="425"/>
            <ac:spMk id="8" creationId="{20A7C9E2-B421-469A-9C3F-316FBC1A848B}"/>
          </ac:spMkLst>
        </pc:spChg>
        <pc:spChg chg="add del mod">
          <ac:chgData name="Chen, Jiajian" userId="688cd47b-9fa9-4323-b4ce-9675c58664e5" providerId="ADAL" clId="{0B6F64F1-854D-41F6-8CBD-5F280D70DA14}" dt="2022-08-09T19:35:49.907" v="1934"/>
          <ac:spMkLst>
            <pc:docMk/>
            <pc:sldMk cId="2026957187" sldId="425"/>
            <ac:spMk id="9" creationId="{48B60265-8607-47BF-ADC1-ADE4961EEBA4}"/>
          </ac:spMkLst>
        </pc:spChg>
        <pc:spChg chg="add mod">
          <ac:chgData name="Chen, Jiajian" userId="688cd47b-9fa9-4323-b4ce-9675c58664e5" providerId="ADAL" clId="{0B6F64F1-854D-41F6-8CBD-5F280D70DA14}" dt="2022-08-09T19:35:57.515" v="1939"/>
          <ac:spMkLst>
            <pc:docMk/>
            <pc:sldMk cId="2026957187" sldId="425"/>
            <ac:spMk id="10" creationId="{EC7D69EE-EBC3-4D50-9517-E0AA44B552C8}"/>
          </ac:spMkLst>
        </pc:spChg>
        <pc:spChg chg="add mod">
          <ac:chgData name="Chen, Jiajian" userId="688cd47b-9fa9-4323-b4ce-9675c58664e5" providerId="ADAL" clId="{0B6F64F1-854D-41F6-8CBD-5F280D70DA14}" dt="2022-08-09T19:35:57.515" v="1939"/>
          <ac:spMkLst>
            <pc:docMk/>
            <pc:sldMk cId="2026957187" sldId="425"/>
            <ac:spMk id="11" creationId="{367EC302-0E64-4ABA-8786-C8DEABEF2315}"/>
          </ac:spMkLst>
        </pc:spChg>
        <pc:spChg chg="add mod">
          <ac:chgData name="Chen, Jiajian" userId="688cd47b-9fa9-4323-b4ce-9675c58664e5" providerId="ADAL" clId="{0B6F64F1-854D-41F6-8CBD-5F280D70DA14}" dt="2022-08-09T19:35:57.515" v="1939"/>
          <ac:spMkLst>
            <pc:docMk/>
            <pc:sldMk cId="2026957187" sldId="425"/>
            <ac:spMk id="12" creationId="{A12DB4E0-923C-4400-9427-41D48D052B01}"/>
          </ac:spMkLst>
        </pc:spChg>
        <pc:spChg chg="add mod">
          <ac:chgData name="Chen, Jiajian" userId="688cd47b-9fa9-4323-b4ce-9675c58664e5" providerId="ADAL" clId="{0B6F64F1-854D-41F6-8CBD-5F280D70DA14}" dt="2022-08-09T19:35:57.515" v="1939"/>
          <ac:spMkLst>
            <pc:docMk/>
            <pc:sldMk cId="2026957187" sldId="425"/>
            <ac:spMk id="13" creationId="{791C4D41-0795-42B1-AB38-53D9C67EA9B9}"/>
          </ac:spMkLst>
        </pc:spChg>
      </pc:sldChg>
      <pc:sldChg chg="new del">
        <pc:chgData name="Chen, Jiajian" userId="688cd47b-9fa9-4323-b4ce-9675c58664e5" providerId="ADAL" clId="{0B6F64F1-854D-41F6-8CBD-5F280D70DA14}" dt="2022-08-09T19:36:32.464" v="1945" actId="47"/>
        <pc:sldMkLst>
          <pc:docMk/>
          <pc:sldMk cId="2466742849" sldId="426"/>
        </pc:sldMkLst>
      </pc:sldChg>
      <pc:sldChg chg="addSp delSp modSp new mod">
        <pc:chgData name="Chen, Jiajian" userId="688cd47b-9fa9-4323-b4ce-9675c58664e5" providerId="ADAL" clId="{0B6F64F1-854D-41F6-8CBD-5F280D70DA14}" dt="2022-08-09T19:36:47.923" v="1952"/>
        <pc:sldMkLst>
          <pc:docMk/>
          <pc:sldMk cId="62611813" sldId="427"/>
        </pc:sldMkLst>
        <pc:spChg chg="del">
          <ac:chgData name="Chen, Jiajian" userId="688cd47b-9fa9-4323-b4ce-9675c58664e5" providerId="ADAL" clId="{0B6F64F1-854D-41F6-8CBD-5F280D70DA14}" dt="2022-08-09T19:36:45.650" v="1950" actId="478"/>
          <ac:spMkLst>
            <pc:docMk/>
            <pc:sldMk cId="62611813" sldId="427"/>
            <ac:spMk id="2" creationId="{5A9F3FEF-7338-4F23-9F15-E710CE142CA5}"/>
          </ac:spMkLst>
        </pc:spChg>
        <pc:spChg chg="del">
          <ac:chgData name="Chen, Jiajian" userId="688cd47b-9fa9-4323-b4ce-9675c58664e5" providerId="ADAL" clId="{0B6F64F1-854D-41F6-8CBD-5F280D70DA14}" dt="2022-08-09T19:36:42.270" v="1948" actId="478"/>
          <ac:spMkLst>
            <pc:docMk/>
            <pc:sldMk cId="62611813" sldId="427"/>
            <ac:spMk id="3" creationId="{7EA00BF7-EDC1-4D17-B9C1-6FF8765FC2B9}"/>
          </ac:spMkLst>
        </pc:spChg>
        <pc:spChg chg="del">
          <ac:chgData name="Chen, Jiajian" userId="688cd47b-9fa9-4323-b4ce-9675c58664e5" providerId="ADAL" clId="{0B6F64F1-854D-41F6-8CBD-5F280D70DA14}" dt="2022-08-09T19:36:44.556" v="1949" actId="478"/>
          <ac:spMkLst>
            <pc:docMk/>
            <pc:sldMk cId="62611813" sldId="427"/>
            <ac:spMk id="4" creationId="{D2AB6E38-4361-4269-A5BC-58C0F9889FD6}"/>
          </ac:spMkLst>
        </pc:spChg>
        <pc:spChg chg="del">
          <ac:chgData name="Chen, Jiajian" userId="688cd47b-9fa9-4323-b4ce-9675c58664e5" providerId="ADAL" clId="{0B6F64F1-854D-41F6-8CBD-5F280D70DA14}" dt="2022-08-09T19:36:46.986" v="1951" actId="478"/>
          <ac:spMkLst>
            <pc:docMk/>
            <pc:sldMk cId="62611813" sldId="427"/>
            <ac:spMk id="5" creationId="{19725B63-21CA-45AE-8BF4-774107C5AB39}"/>
          </ac:spMkLst>
        </pc:spChg>
        <pc:spChg chg="add del mod">
          <ac:chgData name="Chen, Jiajian" userId="688cd47b-9fa9-4323-b4ce-9675c58664e5" providerId="ADAL" clId="{0B6F64F1-854D-41F6-8CBD-5F280D70DA14}" dt="2022-08-09T19:36:39.736" v="1947"/>
          <ac:spMkLst>
            <pc:docMk/>
            <pc:sldMk cId="62611813" sldId="427"/>
            <ac:spMk id="6" creationId="{5D03DD7D-5F8E-4A2B-8E33-07E5499B9E54}"/>
          </ac:spMkLst>
        </pc:spChg>
        <pc:spChg chg="add del mod">
          <ac:chgData name="Chen, Jiajian" userId="688cd47b-9fa9-4323-b4ce-9675c58664e5" providerId="ADAL" clId="{0B6F64F1-854D-41F6-8CBD-5F280D70DA14}" dt="2022-08-09T19:36:39.736" v="1947"/>
          <ac:spMkLst>
            <pc:docMk/>
            <pc:sldMk cId="62611813" sldId="427"/>
            <ac:spMk id="7" creationId="{2DDF6C30-A9B6-464E-8578-11260AF5A901}"/>
          </ac:spMkLst>
        </pc:spChg>
        <pc:spChg chg="add mod">
          <ac:chgData name="Chen, Jiajian" userId="688cd47b-9fa9-4323-b4ce-9675c58664e5" providerId="ADAL" clId="{0B6F64F1-854D-41F6-8CBD-5F280D70DA14}" dt="2022-08-09T19:36:47.923" v="1952"/>
          <ac:spMkLst>
            <pc:docMk/>
            <pc:sldMk cId="62611813" sldId="427"/>
            <ac:spMk id="8" creationId="{0D5287F1-FB63-4F3B-9F20-1CC24A8BB077}"/>
          </ac:spMkLst>
        </pc:spChg>
        <pc:spChg chg="add mod">
          <ac:chgData name="Chen, Jiajian" userId="688cd47b-9fa9-4323-b4ce-9675c58664e5" providerId="ADAL" clId="{0B6F64F1-854D-41F6-8CBD-5F280D70DA14}" dt="2022-08-09T19:36:47.923" v="1952"/>
          <ac:spMkLst>
            <pc:docMk/>
            <pc:sldMk cId="62611813" sldId="427"/>
            <ac:spMk id="9" creationId="{E8F1BBB5-7885-4862-8DBC-AA8D7BBF3AB9}"/>
          </ac:spMkLst>
        </pc:spChg>
      </pc:sldChg>
      <pc:sldChg chg="modSp new mod">
        <pc:chgData name="Chen, Jiajian" userId="688cd47b-9fa9-4323-b4ce-9675c58664e5" providerId="ADAL" clId="{0B6F64F1-854D-41F6-8CBD-5F280D70DA14}" dt="2022-08-09T19:40:14.110" v="2126" actId="20577"/>
        <pc:sldMkLst>
          <pc:docMk/>
          <pc:sldMk cId="1367427087" sldId="428"/>
        </pc:sldMkLst>
        <pc:spChg chg="mod">
          <ac:chgData name="Chen, Jiajian" userId="688cd47b-9fa9-4323-b4ce-9675c58664e5" providerId="ADAL" clId="{0B6F64F1-854D-41F6-8CBD-5F280D70DA14}" dt="2022-08-09T19:40:14.110" v="2126" actId="20577"/>
          <ac:spMkLst>
            <pc:docMk/>
            <pc:sldMk cId="1367427087" sldId="428"/>
            <ac:spMk id="2" creationId="{60A85AFD-4086-4F90-B49C-38D5C8CE8D77}"/>
          </ac:spMkLst>
        </pc:spChg>
        <pc:spChg chg="mod">
          <ac:chgData name="Chen, Jiajian" userId="688cd47b-9fa9-4323-b4ce-9675c58664e5" providerId="ADAL" clId="{0B6F64F1-854D-41F6-8CBD-5F280D70DA14}" dt="2022-08-09T19:37:19.573" v="1957"/>
          <ac:spMkLst>
            <pc:docMk/>
            <pc:sldMk cId="1367427087" sldId="428"/>
            <ac:spMk id="3" creationId="{CF201537-2926-431D-86E0-009850737D0A}"/>
          </ac:spMkLst>
        </pc:spChg>
      </pc:sldChg>
      <pc:sldChg chg="addSp delSp modSp add mod">
        <pc:chgData name="Chen, Jiajian" userId="688cd47b-9fa9-4323-b4ce-9675c58664e5" providerId="ADAL" clId="{0B6F64F1-854D-41F6-8CBD-5F280D70DA14}" dt="2022-08-09T20:24:42.259" v="3758" actId="1076"/>
        <pc:sldMkLst>
          <pc:docMk/>
          <pc:sldMk cId="718520209" sldId="429"/>
        </pc:sldMkLst>
        <pc:spChg chg="mod">
          <ac:chgData name="Chen, Jiajian" userId="688cd47b-9fa9-4323-b4ce-9675c58664e5" providerId="ADAL" clId="{0B6F64F1-854D-41F6-8CBD-5F280D70DA14}" dt="2022-08-09T19:45:20.907" v="2614" actId="20577"/>
          <ac:spMkLst>
            <pc:docMk/>
            <pc:sldMk cId="718520209" sldId="429"/>
            <ac:spMk id="2" creationId="{00000000-0000-0000-0000-000000000000}"/>
          </ac:spMkLst>
        </pc:spChg>
        <pc:spChg chg="mod">
          <ac:chgData name="Chen, Jiajian" userId="688cd47b-9fa9-4323-b4ce-9675c58664e5" providerId="ADAL" clId="{0B6F64F1-854D-41F6-8CBD-5F280D70DA14}" dt="2022-08-09T20:11:51.024" v="3556" actId="20577"/>
          <ac:spMkLst>
            <pc:docMk/>
            <pc:sldMk cId="718520209" sldId="429"/>
            <ac:spMk id="3" creationId="{00000000-0000-0000-0000-000000000000}"/>
          </ac:spMkLst>
        </pc:spChg>
        <pc:spChg chg="mod">
          <ac:chgData name="Chen, Jiajian" userId="688cd47b-9fa9-4323-b4ce-9675c58664e5" providerId="ADAL" clId="{0B6F64F1-854D-41F6-8CBD-5F280D70DA14}" dt="2022-08-09T19:53:22.559" v="2835" actId="20577"/>
          <ac:spMkLst>
            <pc:docMk/>
            <pc:sldMk cId="718520209" sldId="429"/>
            <ac:spMk id="4" creationId="{00000000-0000-0000-0000-000000000000}"/>
          </ac:spMkLst>
        </pc:spChg>
        <pc:spChg chg="add mod">
          <ac:chgData name="Chen, Jiajian" userId="688cd47b-9fa9-4323-b4ce-9675c58664e5" providerId="ADAL" clId="{0B6F64F1-854D-41F6-8CBD-5F280D70DA14}" dt="2022-08-09T20:16:00.116" v="3671" actId="14100"/>
          <ac:spMkLst>
            <pc:docMk/>
            <pc:sldMk cId="718520209" sldId="429"/>
            <ac:spMk id="12" creationId="{073026FE-6834-42C4-885E-BBB77D716B9D}"/>
          </ac:spMkLst>
        </pc:spChg>
        <pc:spChg chg="add mod">
          <ac:chgData name="Chen, Jiajian" userId="688cd47b-9fa9-4323-b4ce-9675c58664e5" providerId="ADAL" clId="{0B6F64F1-854D-41F6-8CBD-5F280D70DA14}" dt="2022-08-09T20:16:06.018" v="3674" actId="1076"/>
          <ac:spMkLst>
            <pc:docMk/>
            <pc:sldMk cId="718520209" sldId="429"/>
            <ac:spMk id="13" creationId="{E5C723D2-3358-4C65-93B3-C5DE2A059DC1}"/>
          </ac:spMkLst>
        </pc:spChg>
        <pc:spChg chg="add mod">
          <ac:chgData name="Chen, Jiajian" userId="688cd47b-9fa9-4323-b4ce-9675c58664e5" providerId="ADAL" clId="{0B6F64F1-854D-41F6-8CBD-5F280D70DA14}" dt="2022-08-09T20:16:09.311" v="3675" actId="1076"/>
          <ac:spMkLst>
            <pc:docMk/>
            <pc:sldMk cId="718520209" sldId="429"/>
            <ac:spMk id="14" creationId="{84F6F80A-7F8E-42EF-9DA3-DC1CFD7936F8}"/>
          </ac:spMkLst>
        </pc:spChg>
        <pc:spChg chg="add mod">
          <ac:chgData name="Chen, Jiajian" userId="688cd47b-9fa9-4323-b4ce-9675c58664e5" providerId="ADAL" clId="{0B6F64F1-854D-41F6-8CBD-5F280D70DA14}" dt="2022-08-09T20:14:45.017" v="3656" actId="1076"/>
          <ac:spMkLst>
            <pc:docMk/>
            <pc:sldMk cId="718520209" sldId="429"/>
            <ac:spMk id="15" creationId="{18B3C006-F8DB-4AA9-8F18-1D63ABD161ED}"/>
          </ac:spMkLst>
        </pc:spChg>
        <pc:spChg chg="add mod">
          <ac:chgData name="Chen, Jiajian" userId="688cd47b-9fa9-4323-b4ce-9675c58664e5" providerId="ADAL" clId="{0B6F64F1-854D-41F6-8CBD-5F280D70DA14}" dt="2022-08-09T20:14:59.276" v="3660" actId="1076"/>
          <ac:spMkLst>
            <pc:docMk/>
            <pc:sldMk cId="718520209" sldId="429"/>
            <ac:spMk id="16" creationId="{487D4117-355E-427F-8284-CD6882CE6219}"/>
          </ac:spMkLst>
        </pc:spChg>
        <pc:spChg chg="add mod">
          <ac:chgData name="Chen, Jiajian" userId="688cd47b-9fa9-4323-b4ce-9675c58664e5" providerId="ADAL" clId="{0B6F64F1-854D-41F6-8CBD-5F280D70DA14}" dt="2022-08-09T20:18:34.717" v="3693" actId="14100"/>
          <ac:spMkLst>
            <pc:docMk/>
            <pc:sldMk cId="718520209" sldId="429"/>
            <ac:spMk id="23" creationId="{941A2FD6-A704-4635-9F9A-E23086A5DD5E}"/>
          </ac:spMkLst>
        </pc:spChg>
        <pc:spChg chg="add mod">
          <ac:chgData name="Chen, Jiajian" userId="688cd47b-9fa9-4323-b4ce-9675c58664e5" providerId="ADAL" clId="{0B6F64F1-854D-41F6-8CBD-5F280D70DA14}" dt="2022-08-09T20:18:51.616" v="3696" actId="14100"/>
          <ac:spMkLst>
            <pc:docMk/>
            <pc:sldMk cId="718520209" sldId="429"/>
            <ac:spMk id="24" creationId="{3444A4A4-D97B-4407-9DCE-48A60E26D720}"/>
          </ac:spMkLst>
        </pc:spChg>
        <pc:spChg chg="add mod">
          <ac:chgData name="Chen, Jiajian" userId="688cd47b-9fa9-4323-b4ce-9675c58664e5" providerId="ADAL" clId="{0B6F64F1-854D-41F6-8CBD-5F280D70DA14}" dt="2022-08-09T20:22:33.862" v="3714" actId="1076"/>
          <ac:spMkLst>
            <pc:docMk/>
            <pc:sldMk cId="718520209" sldId="429"/>
            <ac:spMk id="27" creationId="{DACE5376-DFE4-4495-BF45-2767AC1F233F}"/>
          </ac:spMkLst>
        </pc:spChg>
        <pc:spChg chg="add mod">
          <ac:chgData name="Chen, Jiajian" userId="688cd47b-9fa9-4323-b4ce-9675c58664e5" providerId="ADAL" clId="{0B6F64F1-854D-41F6-8CBD-5F280D70DA14}" dt="2022-08-09T20:24:35.614" v="3757" actId="552"/>
          <ac:spMkLst>
            <pc:docMk/>
            <pc:sldMk cId="718520209" sldId="429"/>
            <ac:spMk id="34" creationId="{8585EEA1-CED4-4C4C-B5CA-578F9D8B9EC4}"/>
          </ac:spMkLst>
        </pc:spChg>
        <pc:spChg chg="add mod">
          <ac:chgData name="Chen, Jiajian" userId="688cd47b-9fa9-4323-b4ce-9675c58664e5" providerId="ADAL" clId="{0B6F64F1-854D-41F6-8CBD-5F280D70DA14}" dt="2022-08-09T20:24:35.614" v="3757" actId="552"/>
          <ac:spMkLst>
            <pc:docMk/>
            <pc:sldMk cId="718520209" sldId="429"/>
            <ac:spMk id="35" creationId="{E6B29A93-D635-4E81-976E-B43C6050D126}"/>
          </ac:spMkLst>
        </pc:spChg>
        <pc:picChg chg="del">
          <ac:chgData name="Chen, Jiajian" userId="688cd47b-9fa9-4323-b4ce-9675c58664e5" providerId="ADAL" clId="{0B6F64F1-854D-41F6-8CBD-5F280D70DA14}" dt="2022-08-09T19:46:29.801" v="2626" actId="478"/>
          <ac:picMkLst>
            <pc:docMk/>
            <pc:sldMk cId="718520209" sldId="429"/>
            <ac:picMk id="6" creationId="{91DB19CE-2070-4B97-993A-13068F391D9E}"/>
          </ac:picMkLst>
        </pc:picChg>
        <pc:picChg chg="add del mod">
          <ac:chgData name="Chen, Jiajian" userId="688cd47b-9fa9-4323-b4ce-9675c58664e5" providerId="ADAL" clId="{0B6F64F1-854D-41F6-8CBD-5F280D70DA14}" dt="2022-08-09T20:22:18.576" v="3706" actId="478"/>
          <ac:picMkLst>
            <pc:docMk/>
            <pc:sldMk cId="718520209" sldId="429"/>
            <ac:picMk id="7" creationId="{C014FC15-DD41-45C9-8282-6B42343D097C}"/>
          </ac:picMkLst>
        </pc:picChg>
        <pc:picChg chg="add del mod">
          <ac:chgData name="Chen, Jiajian" userId="688cd47b-9fa9-4323-b4ce-9675c58664e5" providerId="ADAL" clId="{0B6F64F1-854D-41F6-8CBD-5F280D70DA14}" dt="2022-08-09T20:19:15.671" v="3698" actId="478"/>
          <ac:picMkLst>
            <pc:docMk/>
            <pc:sldMk cId="718520209" sldId="429"/>
            <ac:picMk id="9" creationId="{1B4F32D4-7D5F-4B68-9855-8D5B5397FA8F}"/>
          </ac:picMkLst>
        </pc:picChg>
        <pc:picChg chg="add mod">
          <ac:chgData name="Chen, Jiajian" userId="688cd47b-9fa9-4323-b4ce-9675c58664e5" providerId="ADAL" clId="{0B6F64F1-854D-41F6-8CBD-5F280D70DA14}" dt="2022-08-09T20:24:42.259" v="3758" actId="1076"/>
          <ac:picMkLst>
            <pc:docMk/>
            <pc:sldMk cId="718520209" sldId="429"/>
            <ac:picMk id="11" creationId="{88D8D913-123E-4A90-B541-E31959DDD5B7}"/>
          </ac:picMkLst>
        </pc:picChg>
        <pc:picChg chg="add del">
          <ac:chgData name="Chen, Jiajian" userId="688cd47b-9fa9-4323-b4ce-9675c58664e5" providerId="ADAL" clId="{0B6F64F1-854D-41F6-8CBD-5F280D70DA14}" dt="2022-08-09T20:17:52.243" v="3685" actId="478"/>
          <ac:picMkLst>
            <pc:docMk/>
            <pc:sldMk cId="718520209" sldId="429"/>
            <ac:picMk id="18" creationId="{F737A540-3042-4E6F-A37A-BFFB4338B1B5}"/>
          </ac:picMkLst>
        </pc:picChg>
        <pc:picChg chg="add del">
          <ac:chgData name="Chen, Jiajian" userId="688cd47b-9fa9-4323-b4ce-9675c58664e5" providerId="ADAL" clId="{0B6F64F1-854D-41F6-8CBD-5F280D70DA14}" dt="2022-08-09T20:17:51.432" v="3684" actId="478"/>
          <ac:picMkLst>
            <pc:docMk/>
            <pc:sldMk cId="718520209" sldId="429"/>
            <ac:picMk id="20" creationId="{4BD62A17-EA19-483B-B3C5-34E8427209FB}"/>
          </ac:picMkLst>
        </pc:picChg>
        <pc:picChg chg="add mod">
          <ac:chgData name="Chen, Jiajian" userId="688cd47b-9fa9-4323-b4ce-9675c58664e5" providerId="ADAL" clId="{0B6F64F1-854D-41F6-8CBD-5F280D70DA14}" dt="2022-08-09T20:24:07.024" v="3748" actId="1076"/>
          <ac:picMkLst>
            <pc:docMk/>
            <pc:sldMk cId="718520209" sldId="429"/>
            <ac:picMk id="22" creationId="{82CC6AA9-E350-45BF-B7C2-23A7100ADA2B}"/>
          </ac:picMkLst>
        </pc:picChg>
        <pc:picChg chg="add mod ord">
          <ac:chgData name="Chen, Jiajian" userId="688cd47b-9fa9-4323-b4ce-9675c58664e5" providerId="ADAL" clId="{0B6F64F1-854D-41F6-8CBD-5F280D70DA14}" dt="2022-08-09T20:24:06.034" v="3747" actId="1076"/>
          <ac:picMkLst>
            <pc:docMk/>
            <pc:sldMk cId="718520209" sldId="429"/>
            <ac:picMk id="26" creationId="{9ED2E932-7B4A-4D75-86A6-D0961FAC9EDA}"/>
          </ac:picMkLst>
        </pc:picChg>
        <pc:picChg chg="add mod ord">
          <ac:chgData name="Chen, Jiajian" userId="688cd47b-9fa9-4323-b4ce-9675c58664e5" providerId="ADAL" clId="{0B6F64F1-854D-41F6-8CBD-5F280D70DA14}" dt="2022-08-09T20:24:03.049" v="3746" actId="1076"/>
          <ac:picMkLst>
            <pc:docMk/>
            <pc:sldMk cId="718520209" sldId="429"/>
            <ac:picMk id="29" creationId="{F5522C46-DDFB-4655-BC63-13C768A04442}"/>
          </ac:picMkLst>
        </pc:picChg>
        <pc:cxnChg chg="add mod">
          <ac:chgData name="Chen, Jiajian" userId="688cd47b-9fa9-4323-b4ce-9675c58664e5" providerId="ADAL" clId="{0B6F64F1-854D-41F6-8CBD-5F280D70DA14}" dt="2022-08-09T20:22:49.520" v="3716" actId="13822"/>
          <ac:cxnSpMkLst>
            <pc:docMk/>
            <pc:sldMk cId="718520209" sldId="429"/>
            <ac:cxnSpMk id="31" creationId="{14AFBCA1-49BD-4C88-A512-BFF6D983CEE2}"/>
          </ac:cxnSpMkLst>
        </pc:cxnChg>
        <pc:cxnChg chg="add mod">
          <ac:chgData name="Chen, Jiajian" userId="688cd47b-9fa9-4323-b4ce-9675c58664e5" providerId="ADAL" clId="{0B6F64F1-854D-41F6-8CBD-5F280D70DA14}" dt="2022-08-09T20:23:01.204" v="3718" actId="13822"/>
          <ac:cxnSpMkLst>
            <pc:docMk/>
            <pc:sldMk cId="718520209" sldId="429"/>
            <ac:cxnSpMk id="33" creationId="{7693C9A4-0617-4966-B305-30D8FA374262}"/>
          </ac:cxnSpMkLst>
        </pc:cxnChg>
      </pc:sldChg>
      <pc:sldChg chg="addSp delSp modSp add mod">
        <pc:chgData name="Chen, Jiajian" userId="688cd47b-9fa9-4323-b4ce-9675c58664e5" providerId="ADAL" clId="{0B6F64F1-854D-41F6-8CBD-5F280D70DA14}" dt="2022-08-09T20:33:42.198" v="3984" actId="20577"/>
        <pc:sldMkLst>
          <pc:docMk/>
          <pc:sldMk cId="3903832185" sldId="430"/>
        </pc:sldMkLst>
        <pc:spChg chg="mod">
          <ac:chgData name="Chen, Jiajian" userId="688cd47b-9fa9-4323-b4ce-9675c58664e5" providerId="ADAL" clId="{0B6F64F1-854D-41F6-8CBD-5F280D70DA14}" dt="2022-08-09T20:25:33.990" v="3761"/>
          <ac:spMkLst>
            <pc:docMk/>
            <pc:sldMk cId="3903832185" sldId="430"/>
            <ac:spMk id="2" creationId="{00000000-0000-0000-0000-000000000000}"/>
          </ac:spMkLst>
        </pc:spChg>
        <pc:spChg chg="del">
          <ac:chgData name="Chen, Jiajian" userId="688cd47b-9fa9-4323-b4ce-9675c58664e5" providerId="ADAL" clId="{0B6F64F1-854D-41F6-8CBD-5F280D70DA14}" dt="2022-08-09T20:25:47.362" v="3773" actId="478"/>
          <ac:spMkLst>
            <pc:docMk/>
            <pc:sldMk cId="3903832185" sldId="430"/>
            <ac:spMk id="3" creationId="{00000000-0000-0000-0000-000000000000}"/>
          </ac:spMkLst>
        </pc:spChg>
        <pc:spChg chg="mod">
          <ac:chgData name="Chen, Jiajian" userId="688cd47b-9fa9-4323-b4ce-9675c58664e5" providerId="ADAL" clId="{0B6F64F1-854D-41F6-8CBD-5F280D70DA14}" dt="2022-08-09T20:26:02.774" v="3794" actId="20577"/>
          <ac:spMkLst>
            <pc:docMk/>
            <pc:sldMk cId="3903832185" sldId="430"/>
            <ac:spMk id="4" creationId="{00000000-0000-0000-0000-000000000000}"/>
          </ac:spMkLst>
        </pc:spChg>
        <pc:spChg chg="add mod">
          <ac:chgData name="Chen, Jiajian" userId="688cd47b-9fa9-4323-b4ce-9675c58664e5" providerId="ADAL" clId="{0B6F64F1-854D-41F6-8CBD-5F280D70DA14}" dt="2022-08-09T20:33:42.198" v="3984" actId="20577"/>
          <ac:spMkLst>
            <pc:docMk/>
            <pc:sldMk cId="3903832185" sldId="430"/>
            <ac:spMk id="6" creationId="{DED542A4-B68A-46D0-AD22-317F279CD15E}"/>
          </ac:spMkLst>
        </pc:spChg>
        <pc:spChg chg="del">
          <ac:chgData name="Chen, Jiajian" userId="688cd47b-9fa9-4323-b4ce-9675c58664e5" providerId="ADAL" clId="{0B6F64F1-854D-41F6-8CBD-5F280D70DA14}" dt="2022-08-09T20:25:47.362" v="3773" actId="478"/>
          <ac:spMkLst>
            <pc:docMk/>
            <pc:sldMk cId="3903832185" sldId="430"/>
            <ac:spMk id="12" creationId="{073026FE-6834-42C4-885E-BBB77D716B9D}"/>
          </ac:spMkLst>
        </pc:spChg>
        <pc:spChg chg="del">
          <ac:chgData name="Chen, Jiajian" userId="688cd47b-9fa9-4323-b4ce-9675c58664e5" providerId="ADAL" clId="{0B6F64F1-854D-41F6-8CBD-5F280D70DA14}" dt="2022-08-09T20:25:47.362" v="3773" actId="478"/>
          <ac:spMkLst>
            <pc:docMk/>
            <pc:sldMk cId="3903832185" sldId="430"/>
            <ac:spMk id="13" creationId="{E5C723D2-3358-4C65-93B3-C5DE2A059DC1}"/>
          </ac:spMkLst>
        </pc:spChg>
        <pc:spChg chg="del">
          <ac:chgData name="Chen, Jiajian" userId="688cd47b-9fa9-4323-b4ce-9675c58664e5" providerId="ADAL" clId="{0B6F64F1-854D-41F6-8CBD-5F280D70DA14}" dt="2022-08-09T20:25:47.362" v="3773" actId="478"/>
          <ac:spMkLst>
            <pc:docMk/>
            <pc:sldMk cId="3903832185" sldId="430"/>
            <ac:spMk id="14" creationId="{84F6F80A-7F8E-42EF-9DA3-DC1CFD7936F8}"/>
          </ac:spMkLst>
        </pc:spChg>
        <pc:spChg chg="del">
          <ac:chgData name="Chen, Jiajian" userId="688cd47b-9fa9-4323-b4ce-9675c58664e5" providerId="ADAL" clId="{0B6F64F1-854D-41F6-8CBD-5F280D70DA14}" dt="2022-08-09T20:25:47.362" v="3773" actId="478"/>
          <ac:spMkLst>
            <pc:docMk/>
            <pc:sldMk cId="3903832185" sldId="430"/>
            <ac:spMk id="15" creationId="{18B3C006-F8DB-4AA9-8F18-1D63ABD161ED}"/>
          </ac:spMkLst>
        </pc:spChg>
        <pc:spChg chg="del">
          <ac:chgData name="Chen, Jiajian" userId="688cd47b-9fa9-4323-b4ce-9675c58664e5" providerId="ADAL" clId="{0B6F64F1-854D-41F6-8CBD-5F280D70DA14}" dt="2022-08-09T20:25:47.362" v="3773" actId="478"/>
          <ac:spMkLst>
            <pc:docMk/>
            <pc:sldMk cId="3903832185" sldId="430"/>
            <ac:spMk id="16" creationId="{487D4117-355E-427F-8284-CD6882CE6219}"/>
          </ac:spMkLst>
        </pc:spChg>
        <pc:spChg chg="del">
          <ac:chgData name="Chen, Jiajian" userId="688cd47b-9fa9-4323-b4ce-9675c58664e5" providerId="ADAL" clId="{0B6F64F1-854D-41F6-8CBD-5F280D70DA14}" dt="2022-08-09T20:25:42.137" v="3770" actId="478"/>
          <ac:spMkLst>
            <pc:docMk/>
            <pc:sldMk cId="3903832185" sldId="430"/>
            <ac:spMk id="23" creationId="{941A2FD6-A704-4635-9F9A-E23086A5DD5E}"/>
          </ac:spMkLst>
        </pc:spChg>
        <pc:spChg chg="del">
          <ac:chgData name="Chen, Jiajian" userId="688cd47b-9fa9-4323-b4ce-9675c58664e5" providerId="ADAL" clId="{0B6F64F1-854D-41F6-8CBD-5F280D70DA14}" dt="2022-08-09T20:25:37.933" v="3764" actId="478"/>
          <ac:spMkLst>
            <pc:docMk/>
            <pc:sldMk cId="3903832185" sldId="430"/>
            <ac:spMk id="24" creationId="{3444A4A4-D97B-4407-9DCE-48A60E26D720}"/>
          </ac:spMkLst>
        </pc:spChg>
        <pc:spChg chg="add mod">
          <ac:chgData name="Chen, Jiajian" userId="688cd47b-9fa9-4323-b4ce-9675c58664e5" providerId="ADAL" clId="{0B6F64F1-854D-41F6-8CBD-5F280D70DA14}" dt="2022-08-09T20:28:53.960" v="3806" actId="14100"/>
          <ac:spMkLst>
            <pc:docMk/>
            <pc:sldMk cId="3903832185" sldId="430"/>
            <ac:spMk id="25" creationId="{36B8B4EF-7AA0-466B-87BB-E8ECE2C1DD34}"/>
          </ac:spMkLst>
        </pc:spChg>
        <pc:spChg chg="del">
          <ac:chgData name="Chen, Jiajian" userId="688cd47b-9fa9-4323-b4ce-9675c58664e5" providerId="ADAL" clId="{0B6F64F1-854D-41F6-8CBD-5F280D70DA14}" dt="2022-08-09T20:25:39.721" v="3767" actId="478"/>
          <ac:spMkLst>
            <pc:docMk/>
            <pc:sldMk cId="3903832185" sldId="430"/>
            <ac:spMk id="27" creationId="{DACE5376-DFE4-4495-BF45-2767AC1F233F}"/>
          </ac:spMkLst>
        </pc:spChg>
        <pc:spChg chg="del">
          <ac:chgData name="Chen, Jiajian" userId="688cd47b-9fa9-4323-b4ce-9675c58664e5" providerId="ADAL" clId="{0B6F64F1-854D-41F6-8CBD-5F280D70DA14}" dt="2022-08-09T20:25:36.916" v="3762" actId="478"/>
          <ac:spMkLst>
            <pc:docMk/>
            <pc:sldMk cId="3903832185" sldId="430"/>
            <ac:spMk id="34" creationId="{8585EEA1-CED4-4C4C-B5CA-578F9D8B9EC4}"/>
          </ac:spMkLst>
        </pc:spChg>
        <pc:spChg chg="del">
          <ac:chgData name="Chen, Jiajian" userId="688cd47b-9fa9-4323-b4ce-9675c58664e5" providerId="ADAL" clId="{0B6F64F1-854D-41F6-8CBD-5F280D70DA14}" dt="2022-08-09T20:25:40.902" v="3768" actId="478"/>
          <ac:spMkLst>
            <pc:docMk/>
            <pc:sldMk cId="3903832185" sldId="430"/>
            <ac:spMk id="35" creationId="{E6B29A93-D635-4E81-976E-B43C6050D126}"/>
          </ac:spMkLst>
        </pc:spChg>
        <pc:picChg chg="add mod">
          <ac:chgData name="Chen, Jiajian" userId="688cd47b-9fa9-4323-b4ce-9675c58664e5" providerId="ADAL" clId="{0B6F64F1-854D-41F6-8CBD-5F280D70DA14}" dt="2022-08-09T20:27:39.978" v="3802" actId="1076"/>
          <ac:picMkLst>
            <pc:docMk/>
            <pc:sldMk cId="3903832185" sldId="430"/>
            <ac:picMk id="8" creationId="{3172D37F-14D3-4D90-91E1-68884FBA4026}"/>
          </ac:picMkLst>
        </pc:picChg>
        <pc:picChg chg="del">
          <ac:chgData name="Chen, Jiajian" userId="688cd47b-9fa9-4323-b4ce-9675c58664e5" providerId="ADAL" clId="{0B6F64F1-854D-41F6-8CBD-5F280D70DA14}" dt="2022-08-09T20:25:41.296" v="3769" actId="478"/>
          <ac:picMkLst>
            <pc:docMk/>
            <pc:sldMk cId="3903832185" sldId="430"/>
            <ac:picMk id="11" creationId="{88D8D913-123E-4A90-B541-E31959DDD5B7}"/>
          </ac:picMkLst>
        </pc:picChg>
        <pc:picChg chg="del">
          <ac:chgData name="Chen, Jiajian" userId="688cd47b-9fa9-4323-b4ce-9675c58664e5" providerId="ADAL" clId="{0B6F64F1-854D-41F6-8CBD-5F280D70DA14}" dt="2022-08-09T20:25:37.490" v="3763" actId="478"/>
          <ac:picMkLst>
            <pc:docMk/>
            <pc:sldMk cId="3903832185" sldId="430"/>
            <ac:picMk id="22" creationId="{82CC6AA9-E350-45BF-B7C2-23A7100ADA2B}"/>
          </ac:picMkLst>
        </pc:picChg>
        <pc:picChg chg="del">
          <ac:chgData name="Chen, Jiajian" userId="688cd47b-9fa9-4323-b4ce-9675c58664e5" providerId="ADAL" clId="{0B6F64F1-854D-41F6-8CBD-5F280D70DA14}" dt="2022-08-09T20:25:39.124" v="3766" actId="478"/>
          <ac:picMkLst>
            <pc:docMk/>
            <pc:sldMk cId="3903832185" sldId="430"/>
            <ac:picMk id="26" creationId="{9ED2E932-7B4A-4D75-86A6-D0961FAC9EDA}"/>
          </ac:picMkLst>
        </pc:picChg>
        <pc:picChg chg="del">
          <ac:chgData name="Chen, Jiajian" userId="688cd47b-9fa9-4323-b4ce-9675c58664e5" providerId="ADAL" clId="{0B6F64F1-854D-41F6-8CBD-5F280D70DA14}" dt="2022-08-09T20:25:38.472" v="3765" actId="478"/>
          <ac:picMkLst>
            <pc:docMk/>
            <pc:sldMk cId="3903832185" sldId="430"/>
            <ac:picMk id="29" creationId="{F5522C46-DDFB-4655-BC63-13C768A04442}"/>
          </ac:picMkLst>
        </pc:picChg>
        <pc:cxnChg chg="del">
          <ac:chgData name="Chen, Jiajian" userId="688cd47b-9fa9-4323-b4ce-9675c58664e5" providerId="ADAL" clId="{0B6F64F1-854D-41F6-8CBD-5F280D70DA14}" dt="2022-08-09T20:25:42.536" v="3771" actId="478"/>
          <ac:cxnSpMkLst>
            <pc:docMk/>
            <pc:sldMk cId="3903832185" sldId="430"/>
            <ac:cxnSpMk id="31" creationId="{14AFBCA1-49BD-4C88-A512-BFF6D983CEE2}"/>
          </ac:cxnSpMkLst>
        </pc:cxnChg>
        <pc:cxnChg chg="del">
          <ac:chgData name="Chen, Jiajian" userId="688cd47b-9fa9-4323-b4ce-9675c58664e5" providerId="ADAL" clId="{0B6F64F1-854D-41F6-8CBD-5F280D70DA14}" dt="2022-08-09T20:25:43.046" v="3772" actId="478"/>
          <ac:cxnSpMkLst>
            <pc:docMk/>
            <pc:sldMk cId="3903832185" sldId="430"/>
            <ac:cxnSpMk id="33" creationId="{7693C9A4-0617-4966-B305-30D8FA374262}"/>
          </ac:cxnSpMkLst>
        </pc:cxnChg>
      </pc:sldChg>
      <pc:sldChg chg="addSp delSp modSp new mod">
        <pc:chgData name="Chen, Jiajian" userId="688cd47b-9fa9-4323-b4ce-9675c58664e5" providerId="ADAL" clId="{0B6F64F1-854D-41F6-8CBD-5F280D70DA14}" dt="2022-08-09T20:40:31.192" v="4044" actId="20577"/>
        <pc:sldMkLst>
          <pc:docMk/>
          <pc:sldMk cId="4067858675" sldId="431"/>
        </pc:sldMkLst>
        <pc:spChg chg="del mod">
          <ac:chgData name="Chen, Jiajian" userId="688cd47b-9fa9-4323-b4ce-9675c58664e5" providerId="ADAL" clId="{0B6F64F1-854D-41F6-8CBD-5F280D70DA14}" dt="2022-08-09T20:35:14.331" v="3989" actId="478"/>
          <ac:spMkLst>
            <pc:docMk/>
            <pc:sldMk cId="4067858675" sldId="431"/>
            <ac:spMk id="2" creationId="{12E2C1DA-9289-4F32-9EA1-6846B9473A08}"/>
          </ac:spMkLst>
        </pc:spChg>
        <pc:spChg chg="mod">
          <ac:chgData name="Chen, Jiajian" userId="688cd47b-9fa9-4323-b4ce-9675c58664e5" providerId="ADAL" clId="{0B6F64F1-854D-41F6-8CBD-5F280D70DA14}" dt="2022-08-09T20:34:30.494" v="3987"/>
          <ac:spMkLst>
            <pc:docMk/>
            <pc:sldMk cId="4067858675" sldId="431"/>
            <ac:spMk id="3" creationId="{48D3655D-6BE7-474C-90BB-2311BE75F6AD}"/>
          </ac:spMkLst>
        </pc:spChg>
        <pc:spChg chg="add mod">
          <ac:chgData name="Chen, Jiajian" userId="688cd47b-9fa9-4323-b4ce-9675c58664e5" providerId="ADAL" clId="{0B6F64F1-854D-41F6-8CBD-5F280D70DA14}" dt="2022-08-09T20:40:31.192" v="4044" actId="20577"/>
          <ac:spMkLst>
            <pc:docMk/>
            <pc:sldMk cId="4067858675" sldId="431"/>
            <ac:spMk id="5" creationId="{36382C7F-DF21-445C-BE19-E6CE66937786}"/>
          </ac:spMkLst>
        </pc:spChg>
      </pc:sldChg>
      <pc:sldChg chg="addSp delSp modSp new mod">
        <pc:chgData name="Chen, Jiajian" userId="688cd47b-9fa9-4323-b4ce-9675c58664e5" providerId="ADAL" clId="{0B6F64F1-854D-41F6-8CBD-5F280D70DA14}" dt="2022-08-09T20:48:37.471" v="4293" actId="1076"/>
        <pc:sldMkLst>
          <pc:docMk/>
          <pc:sldMk cId="3260269924" sldId="432"/>
        </pc:sldMkLst>
        <pc:spChg chg="mod">
          <ac:chgData name="Chen, Jiajian" userId="688cd47b-9fa9-4323-b4ce-9675c58664e5" providerId="ADAL" clId="{0B6F64F1-854D-41F6-8CBD-5F280D70DA14}" dt="2022-08-09T20:45:03.529" v="4064" actId="20577"/>
          <ac:spMkLst>
            <pc:docMk/>
            <pc:sldMk cId="3260269924" sldId="432"/>
            <ac:spMk id="2" creationId="{21D3E210-81C3-44A0-AB77-BFD41D96DB66}"/>
          </ac:spMkLst>
        </pc:spChg>
        <pc:spChg chg="mod">
          <ac:chgData name="Chen, Jiajian" userId="688cd47b-9fa9-4323-b4ce-9675c58664e5" providerId="ADAL" clId="{0B6F64F1-854D-41F6-8CBD-5F280D70DA14}" dt="2022-08-09T20:47:13.349" v="4214" actId="108"/>
          <ac:spMkLst>
            <pc:docMk/>
            <pc:sldMk cId="3260269924" sldId="432"/>
            <ac:spMk id="3" creationId="{1E9B857C-1185-49EC-849C-F9DF84B1D799}"/>
          </ac:spMkLst>
        </pc:spChg>
        <pc:spChg chg="add del mod">
          <ac:chgData name="Chen, Jiajian" userId="688cd47b-9fa9-4323-b4ce-9675c58664e5" providerId="ADAL" clId="{0B6F64F1-854D-41F6-8CBD-5F280D70DA14}" dt="2022-08-09T20:44:44.874" v="4058" actId="478"/>
          <ac:spMkLst>
            <pc:docMk/>
            <pc:sldMk cId="3260269924" sldId="432"/>
            <ac:spMk id="8" creationId="{B7B11D81-64B3-4370-8521-D1742A13A9BE}"/>
          </ac:spMkLst>
        </pc:spChg>
        <pc:spChg chg="add del mod">
          <ac:chgData name="Chen, Jiajian" userId="688cd47b-9fa9-4323-b4ce-9675c58664e5" providerId="ADAL" clId="{0B6F64F1-854D-41F6-8CBD-5F280D70DA14}" dt="2022-08-09T20:45:00.731" v="4062" actId="478"/>
          <ac:spMkLst>
            <pc:docMk/>
            <pc:sldMk cId="3260269924" sldId="432"/>
            <ac:spMk id="9" creationId="{80E35F79-1467-4043-8297-24C9C55CDFEB}"/>
          </ac:spMkLst>
        </pc:spChg>
        <pc:spChg chg="add mod">
          <ac:chgData name="Chen, Jiajian" userId="688cd47b-9fa9-4323-b4ce-9675c58664e5" providerId="ADAL" clId="{0B6F64F1-854D-41F6-8CBD-5F280D70DA14}" dt="2022-08-09T20:48:05.100" v="4287" actId="14100"/>
          <ac:spMkLst>
            <pc:docMk/>
            <pc:sldMk cId="3260269924" sldId="432"/>
            <ac:spMk id="10" creationId="{7CA3DECC-EFF5-4DA5-B189-3C49FD9D7DAB}"/>
          </ac:spMkLst>
        </pc:spChg>
        <pc:spChg chg="add mod">
          <ac:chgData name="Chen, Jiajian" userId="688cd47b-9fa9-4323-b4ce-9675c58664e5" providerId="ADAL" clId="{0B6F64F1-854D-41F6-8CBD-5F280D70DA14}" dt="2022-08-09T20:48:37.471" v="4293" actId="1076"/>
          <ac:spMkLst>
            <pc:docMk/>
            <pc:sldMk cId="3260269924" sldId="432"/>
            <ac:spMk id="11" creationId="{FD3C43A7-A285-4C4F-82F2-E96D44516EE1}"/>
          </ac:spMkLst>
        </pc:spChg>
        <pc:picChg chg="add mod">
          <ac:chgData name="Chen, Jiajian" userId="688cd47b-9fa9-4323-b4ce-9675c58664e5" providerId="ADAL" clId="{0B6F64F1-854D-41F6-8CBD-5F280D70DA14}" dt="2022-08-09T20:46:48.927" v="4211" actId="1076"/>
          <ac:picMkLst>
            <pc:docMk/>
            <pc:sldMk cId="3260269924" sldId="432"/>
            <ac:picMk id="5" creationId="{55C9A5D0-4EC0-4BEA-B52B-CA0925FAB208}"/>
          </ac:picMkLst>
        </pc:picChg>
        <pc:picChg chg="add del mod">
          <ac:chgData name="Chen, Jiajian" userId="688cd47b-9fa9-4323-b4ce-9675c58664e5" providerId="ADAL" clId="{0B6F64F1-854D-41F6-8CBD-5F280D70DA14}" dt="2022-08-09T20:48:30.080" v="4290" actId="1076"/>
          <ac:picMkLst>
            <pc:docMk/>
            <pc:sldMk cId="3260269924" sldId="432"/>
            <ac:picMk id="7" creationId="{D5C054E6-B7B2-4971-BF88-5D70151595CC}"/>
          </ac:picMkLst>
        </pc:picChg>
      </pc:sldChg>
      <pc:sldChg chg="modSp new mod">
        <pc:chgData name="Chen, Jiajian" userId="688cd47b-9fa9-4323-b4ce-9675c58664e5" providerId="ADAL" clId="{0B6F64F1-854D-41F6-8CBD-5F280D70DA14}" dt="2022-08-09T20:50:00.530" v="4358" actId="20577"/>
        <pc:sldMkLst>
          <pc:docMk/>
          <pc:sldMk cId="1114208867" sldId="433"/>
        </pc:sldMkLst>
        <pc:spChg chg="mod">
          <ac:chgData name="Chen, Jiajian" userId="688cd47b-9fa9-4323-b4ce-9675c58664e5" providerId="ADAL" clId="{0B6F64F1-854D-41F6-8CBD-5F280D70DA14}" dt="2022-08-09T20:50:00.530" v="4358" actId="20577"/>
          <ac:spMkLst>
            <pc:docMk/>
            <pc:sldMk cId="1114208867" sldId="433"/>
            <ac:spMk id="2" creationId="{67276559-A820-4EC6-95AB-7790D5F92470}"/>
          </ac:spMkLst>
        </pc:spChg>
        <pc:spChg chg="mod">
          <ac:chgData name="Chen, Jiajian" userId="688cd47b-9fa9-4323-b4ce-9675c58664e5" providerId="ADAL" clId="{0B6F64F1-854D-41F6-8CBD-5F280D70DA14}" dt="2022-08-09T20:49:25.992" v="4296" actId="20577"/>
          <ac:spMkLst>
            <pc:docMk/>
            <pc:sldMk cId="1114208867" sldId="433"/>
            <ac:spMk id="3" creationId="{4BAC6F20-8F34-4C52-883E-4D92A9824A8C}"/>
          </ac:spMkLst>
        </pc:spChg>
      </pc:sldChg>
      <pc:sldChg chg="addSp delSp modSp new mod">
        <pc:chgData name="Chen, Jiajian" userId="688cd47b-9fa9-4323-b4ce-9675c58664e5" providerId="ADAL" clId="{0B6F64F1-854D-41F6-8CBD-5F280D70DA14}" dt="2022-08-09T21:02:34.248" v="4411"/>
        <pc:sldMkLst>
          <pc:docMk/>
          <pc:sldMk cId="771369146" sldId="434"/>
        </pc:sldMkLst>
        <pc:spChg chg="mod">
          <ac:chgData name="Chen, Jiajian" userId="688cd47b-9fa9-4323-b4ce-9675c58664e5" providerId="ADAL" clId="{0B6F64F1-854D-41F6-8CBD-5F280D70DA14}" dt="2022-08-09T21:02:34.248" v="4411"/>
          <ac:spMkLst>
            <pc:docMk/>
            <pc:sldMk cId="771369146" sldId="434"/>
            <ac:spMk id="2" creationId="{15530C54-422C-49A4-85C8-62E0EA80F506}"/>
          </ac:spMkLst>
        </pc:spChg>
        <pc:spChg chg="del">
          <ac:chgData name="Chen, Jiajian" userId="688cd47b-9fa9-4323-b4ce-9675c58664e5" providerId="ADAL" clId="{0B6F64F1-854D-41F6-8CBD-5F280D70DA14}" dt="2022-08-09T21:01:03.762" v="4380" actId="478"/>
          <ac:spMkLst>
            <pc:docMk/>
            <pc:sldMk cId="771369146" sldId="434"/>
            <ac:spMk id="3" creationId="{95B797F6-D422-4F5D-8634-228140724069}"/>
          </ac:spMkLst>
        </pc:spChg>
        <pc:spChg chg="mod">
          <ac:chgData name="Chen, Jiajian" userId="688cd47b-9fa9-4323-b4ce-9675c58664e5" providerId="ADAL" clId="{0B6F64F1-854D-41F6-8CBD-5F280D70DA14}" dt="2022-08-09T21:01:23.698" v="4395" actId="1076"/>
          <ac:spMkLst>
            <pc:docMk/>
            <pc:sldMk cId="771369146" sldId="434"/>
            <ac:spMk id="4" creationId="{2EA0D991-F2CD-4CDC-8368-CFB204A55FE3}"/>
          </ac:spMkLst>
        </pc:spChg>
        <pc:spChg chg="add del">
          <ac:chgData name="Chen, Jiajian" userId="688cd47b-9fa9-4323-b4ce-9675c58664e5" providerId="ADAL" clId="{0B6F64F1-854D-41F6-8CBD-5F280D70DA14}" dt="2022-08-09T21:02:30.850" v="4409"/>
          <ac:spMkLst>
            <pc:docMk/>
            <pc:sldMk cId="771369146" sldId="434"/>
            <ac:spMk id="7" creationId="{4665C791-331B-4601-B39C-EA231575C7AD}"/>
          </ac:spMkLst>
        </pc:spChg>
        <pc:picChg chg="add mod">
          <ac:chgData name="Chen, Jiajian" userId="688cd47b-9fa9-4323-b4ce-9675c58664e5" providerId="ADAL" clId="{0B6F64F1-854D-41F6-8CBD-5F280D70DA14}" dt="2022-08-09T21:01:19.243" v="4394" actId="1076"/>
          <ac:picMkLst>
            <pc:docMk/>
            <pc:sldMk cId="771369146" sldId="434"/>
            <ac:picMk id="6" creationId="{F873D9E2-73D5-4210-8CDD-02195F5EC123}"/>
          </ac:picMkLst>
        </pc:picChg>
      </pc:sldChg>
      <pc:sldChg chg="new del">
        <pc:chgData name="Chen, Jiajian" userId="688cd47b-9fa9-4323-b4ce-9675c58664e5" providerId="ADAL" clId="{0B6F64F1-854D-41F6-8CBD-5F280D70DA14}" dt="2022-08-09T20:50:15.129" v="4360" actId="47"/>
        <pc:sldMkLst>
          <pc:docMk/>
          <pc:sldMk cId="2506817044" sldId="434"/>
        </pc:sldMkLst>
      </pc:sldChg>
      <pc:sldChg chg="modSp new mod">
        <pc:chgData name="Chen, Jiajian" userId="688cd47b-9fa9-4323-b4ce-9675c58664e5" providerId="ADAL" clId="{0B6F64F1-854D-41F6-8CBD-5F280D70DA14}" dt="2022-08-09T20:51:58.390" v="4363"/>
        <pc:sldMkLst>
          <pc:docMk/>
          <pc:sldMk cId="2860293541" sldId="435"/>
        </pc:sldMkLst>
        <pc:spChg chg="mod">
          <ac:chgData name="Chen, Jiajian" userId="688cd47b-9fa9-4323-b4ce-9675c58664e5" providerId="ADAL" clId="{0B6F64F1-854D-41F6-8CBD-5F280D70DA14}" dt="2022-08-09T20:51:58.390" v="4363"/>
          <ac:spMkLst>
            <pc:docMk/>
            <pc:sldMk cId="2860293541" sldId="435"/>
            <ac:spMk id="3" creationId="{8BC99889-F108-4D6D-80E6-C1530665336E}"/>
          </ac:spMkLst>
        </pc:spChg>
      </pc:sldChg>
    </pc:docChg>
  </pc:docChgLst>
  <pc:docChgLst>
    <pc:chgData name="Chen, Jiajian" userId="688cd47b-9fa9-4323-b4ce-9675c58664e5" providerId="ADAL" clId="{F15DBAC2-39B6-4172-B25C-45DACD38059C}"/>
    <pc:docChg chg="undo custSel addSld delSld modSld">
      <pc:chgData name="Chen, Jiajian" userId="688cd47b-9fa9-4323-b4ce-9675c58664e5" providerId="ADAL" clId="{F15DBAC2-39B6-4172-B25C-45DACD38059C}" dt="2022-08-10T18:12:51.222" v="1673" actId="1076"/>
      <pc:docMkLst>
        <pc:docMk/>
      </pc:docMkLst>
      <pc:sldChg chg="addSp modSp mod">
        <pc:chgData name="Chen, Jiajian" userId="688cd47b-9fa9-4323-b4ce-9675c58664e5" providerId="ADAL" clId="{F15DBAC2-39B6-4172-B25C-45DACD38059C}" dt="2022-08-10T16:14:38.664" v="1655" actId="13926"/>
        <pc:sldMkLst>
          <pc:docMk/>
          <pc:sldMk cId="953512192" sldId="327"/>
        </pc:sldMkLst>
        <pc:spChg chg="mod">
          <ac:chgData name="Chen, Jiajian" userId="688cd47b-9fa9-4323-b4ce-9675c58664e5" providerId="ADAL" clId="{F15DBAC2-39B6-4172-B25C-45DACD38059C}" dt="2022-08-10T14:30:43.929" v="19" actId="20577"/>
          <ac:spMkLst>
            <pc:docMk/>
            <pc:sldMk cId="953512192" sldId="327"/>
            <ac:spMk id="3" creationId="{00000000-0000-0000-0000-000000000000}"/>
          </ac:spMkLst>
        </pc:spChg>
        <pc:spChg chg="mod">
          <ac:chgData name="Chen, Jiajian" userId="688cd47b-9fa9-4323-b4ce-9675c58664e5" providerId="ADAL" clId="{F15DBAC2-39B6-4172-B25C-45DACD38059C}" dt="2022-08-10T16:14:06.427" v="1648" actId="208"/>
          <ac:spMkLst>
            <pc:docMk/>
            <pc:sldMk cId="953512192" sldId="327"/>
            <ac:spMk id="4" creationId="{3ACF8BF6-5148-4E4C-B798-4FE674093D14}"/>
          </ac:spMkLst>
        </pc:spChg>
        <pc:spChg chg="mod">
          <ac:chgData name="Chen, Jiajian" userId="688cd47b-9fa9-4323-b4ce-9675c58664e5" providerId="ADAL" clId="{F15DBAC2-39B6-4172-B25C-45DACD38059C}" dt="2022-08-10T14:34:35.443" v="67" actId="1076"/>
          <ac:spMkLst>
            <pc:docMk/>
            <pc:sldMk cId="953512192" sldId="327"/>
            <ac:spMk id="9" creationId="{36869D7B-FE27-474E-8AA2-5186F0697640}"/>
          </ac:spMkLst>
        </pc:spChg>
        <pc:spChg chg="mod">
          <ac:chgData name="Chen, Jiajian" userId="688cd47b-9fa9-4323-b4ce-9675c58664e5" providerId="ADAL" clId="{F15DBAC2-39B6-4172-B25C-45DACD38059C}" dt="2022-08-10T16:14:21.187" v="1651" actId="1076"/>
          <ac:spMkLst>
            <pc:docMk/>
            <pc:sldMk cId="953512192" sldId="327"/>
            <ac:spMk id="10" creationId="{6461D294-F48D-43DB-97E0-CB46AF795872}"/>
          </ac:spMkLst>
        </pc:spChg>
        <pc:spChg chg="mod">
          <ac:chgData name="Chen, Jiajian" userId="688cd47b-9fa9-4323-b4ce-9675c58664e5" providerId="ADAL" clId="{F15DBAC2-39B6-4172-B25C-45DACD38059C}" dt="2022-08-10T14:51:37.089" v="155" actId="20577"/>
          <ac:spMkLst>
            <pc:docMk/>
            <pc:sldMk cId="953512192" sldId="327"/>
            <ac:spMk id="11" creationId="{EF12952E-2A8C-448D-A2A3-B1FB887EFF5F}"/>
          </ac:spMkLst>
        </pc:spChg>
        <pc:spChg chg="add mod">
          <ac:chgData name="Chen, Jiajian" userId="688cd47b-9fa9-4323-b4ce-9675c58664e5" providerId="ADAL" clId="{F15DBAC2-39B6-4172-B25C-45DACD38059C}" dt="2022-08-10T16:14:38.664" v="1655" actId="13926"/>
          <ac:spMkLst>
            <pc:docMk/>
            <pc:sldMk cId="953512192" sldId="327"/>
            <ac:spMk id="14" creationId="{89BEA8EA-C2BA-4FBC-B7F4-FB10F9E3F599}"/>
          </ac:spMkLst>
        </pc:spChg>
        <pc:spChg chg="add mod">
          <ac:chgData name="Chen, Jiajian" userId="688cd47b-9fa9-4323-b4ce-9675c58664e5" providerId="ADAL" clId="{F15DBAC2-39B6-4172-B25C-45DACD38059C}" dt="2022-08-10T16:14:35.599" v="1654" actId="13926"/>
          <ac:spMkLst>
            <pc:docMk/>
            <pc:sldMk cId="953512192" sldId="327"/>
            <ac:spMk id="15" creationId="{406060D7-16F3-4EFE-98F6-009405E461FB}"/>
          </ac:spMkLst>
        </pc:spChg>
        <pc:cxnChg chg="mod">
          <ac:chgData name="Chen, Jiajian" userId="688cd47b-9fa9-4323-b4ce-9675c58664e5" providerId="ADAL" clId="{F15DBAC2-39B6-4172-B25C-45DACD38059C}" dt="2022-08-10T14:34:29.302" v="66" actId="14100"/>
          <ac:cxnSpMkLst>
            <pc:docMk/>
            <pc:sldMk cId="953512192" sldId="327"/>
            <ac:cxnSpMk id="7" creationId="{6BA31E01-D2F5-44A0-9AE8-0ABAE6EE7926}"/>
          </ac:cxnSpMkLst>
        </pc:cxnChg>
      </pc:sldChg>
      <pc:sldChg chg="modSp mod">
        <pc:chgData name="Chen, Jiajian" userId="688cd47b-9fa9-4323-b4ce-9675c58664e5" providerId="ADAL" clId="{F15DBAC2-39B6-4172-B25C-45DACD38059C}" dt="2022-08-10T16:14:59.094" v="1656" actId="13926"/>
        <pc:sldMkLst>
          <pc:docMk/>
          <pc:sldMk cId="1699047536" sldId="400"/>
        </pc:sldMkLst>
        <pc:spChg chg="mod">
          <ac:chgData name="Chen, Jiajian" userId="688cd47b-9fa9-4323-b4ce-9675c58664e5" providerId="ADAL" clId="{F15DBAC2-39B6-4172-B25C-45DACD38059C}" dt="2022-08-10T16:14:59.094" v="1656" actId="13926"/>
          <ac:spMkLst>
            <pc:docMk/>
            <pc:sldMk cId="1699047536" sldId="400"/>
            <ac:spMk id="3" creationId="{00000000-0000-0000-0000-000000000000}"/>
          </ac:spMkLst>
        </pc:spChg>
      </pc:sldChg>
      <pc:sldChg chg="modSp mod">
        <pc:chgData name="Chen, Jiajian" userId="688cd47b-9fa9-4323-b4ce-9675c58664e5" providerId="ADAL" clId="{F15DBAC2-39B6-4172-B25C-45DACD38059C}" dt="2022-08-10T18:12:51.222" v="1673" actId="1076"/>
        <pc:sldMkLst>
          <pc:docMk/>
          <pc:sldMk cId="718520209" sldId="429"/>
        </pc:sldMkLst>
        <pc:spChg chg="mod">
          <ac:chgData name="Chen, Jiajian" userId="688cd47b-9fa9-4323-b4ce-9675c58664e5" providerId="ADAL" clId="{F15DBAC2-39B6-4172-B25C-45DACD38059C}" dt="2022-08-10T16:15:22.333" v="1658" actId="208"/>
          <ac:spMkLst>
            <pc:docMk/>
            <pc:sldMk cId="718520209" sldId="429"/>
            <ac:spMk id="12" creationId="{073026FE-6834-42C4-885E-BBB77D716B9D}"/>
          </ac:spMkLst>
        </pc:spChg>
        <pc:spChg chg="mod">
          <ac:chgData name="Chen, Jiajian" userId="688cd47b-9fa9-4323-b4ce-9675c58664e5" providerId="ADAL" clId="{F15DBAC2-39B6-4172-B25C-45DACD38059C}" dt="2022-08-10T16:15:22.333" v="1658" actId="208"/>
          <ac:spMkLst>
            <pc:docMk/>
            <pc:sldMk cId="718520209" sldId="429"/>
            <ac:spMk id="13" creationId="{E5C723D2-3358-4C65-93B3-C5DE2A059DC1}"/>
          </ac:spMkLst>
        </pc:spChg>
        <pc:spChg chg="mod">
          <ac:chgData name="Chen, Jiajian" userId="688cd47b-9fa9-4323-b4ce-9675c58664e5" providerId="ADAL" clId="{F15DBAC2-39B6-4172-B25C-45DACD38059C}" dt="2022-08-10T16:15:22.333" v="1658" actId="208"/>
          <ac:spMkLst>
            <pc:docMk/>
            <pc:sldMk cId="718520209" sldId="429"/>
            <ac:spMk id="14" creationId="{84F6F80A-7F8E-42EF-9DA3-DC1CFD7936F8}"/>
          </ac:spMkLst>
        </pc:spChg>
        <pc:spChg chg="mod">
          <ac:chgData name="Chen, Jiajian" userId="688cd47b-9fa9-4323-b4ce-9675c58664e5" providerId="ADAL" clId="{F15DBAC2-39B6-4172-B25C-45DACD38059C}" dt="2022-08-10T18:12:51.222" v="1673" actId="1076"/>
          <ac:spMkLst>
            <pc:docMk/>
            <pc:sldMk cId="718520209" sldId="429"/>
            <ac:spMk id="27" creationId="{DACE5376-DFE4-4495-BF45-2767AC1F233F}"/>
          </ac:spMkLst>
        </pc:spChg>
      </pc:sldChg>
      <pc:sldChg chg="addSp delSp modSp mod">
        <pc:chgData name="Chen, Jiajian" userId="688cd47b-9fa9-4323-b4ce-9675c58664e5" providerId="ADAL" clId="{F15DBAC2-39B6-4172-B25C-45DACD38059C}" dt="2022-08-10T15:24:51.737" v="218" actId="478"/>
        <pc:sldMkLst>
          <pc:docMk/>
          <pc:sldMk cId="4067858675" sldId="431"/>
        </pc:sldMkLst>
        <pc:spChg chg="mod">
          <ac:chgData name="Chen, Jiajian" userId="688cd47b-9fa9-4323-b4ce-9675c58664e5" providerId="ADAL" clId="{F15DBAC2-39B6-4172-B25C-45DACD38059C}" dt="2022-08-10T14:56:45.382" v="192" actId="20577"/>
          <ac:spMkLst>
            <pc:docMk/>
            <pc:sldMk cId="4067858675" sldId="431"/>
            <ac:spMk id="3" creationId="{48D3655D-6BE7-474C-90BB-2311BE75F6AD}"/>
          </ac:spMkLst>
        </pc:spChg>
        <pc:spChg chg="add mod">
          <ac:chgData name="Chen, Jiajian" userId="688cd47b-9fa9-4323-b4ce-9675c58664e5" providerId="ADAL" clId="{F15DBAC2-39B6-4172-B25C-45DACD38059C}" dt="2022-08-10T15:24:51.737" v="218" actId="478"/>
          <ac:spMkLst>
            <pc:docMk/>
            <pc:sldMk cId="4067858675" sldId="431"/>
            <ac:spMk id="4" creationId="{20487E46-593D-4A6D-B419-65A924348766}"/>
          </ac:spMkLst>
        </pc:spChg>
        <pc:spChg chg="del">
          <ac:chgData name="Chen, Jiajian" userId="688cd47b-9fa9-4323-b4ce-9675c58664e5" providerId="ADAL" clId="{F15DBAC2-39B6-4172-B25C-45DACD38059C}" dt="2022-08-10T15:24:51.737" v="218" actId="478"/>
          <ac:spMkLst>
            <pc:docMk/>
            <pc:sldMk cId="4067858675" sldId="431"/>
            <ac:spMk id="5" creationId="{36382C7F-DF21-445C-BE19-E6CE66937786}"/>
          </ac:spMkLst>
        </pc:spChg>
      </pc:sldChg>
      <pc:sldChg chg="addSp delSp modSp mod">
        <pc:chgData name="Chen, Jiajian" userId="688cd47b-9fa9-4323-b4ce-9675c58664e5" providerId="ADAL" clId="{F15DBAC2-39B6-4172-B25C-45DACD38059C}" dt="2022-08-10T16:15:57.293" v="1671" actId="108"/>
        <pc:sldMkLst>
          <pc:docMk/>
          <pc:sldMk cId="3260269924" sldId="432"/>
        </pc:sldMkLst>
        <pc:spChg chg="del">
          <ac:chgData name="Chen, Jiajian" userId="688cd47b-9fa9-4323-b4ce-9675c58664e5" providerId="ADAL" clId="{F15DBAC2-39B6-4172-B25C-45DACD38059C}" dt="2022-08-10T15:22:54.578" v="205" actId="478"/>
          <ac:spMkLst>
            <pc:docMk/>
            <pc:sldMk cId="3260269924" sldId="432"/>
            <ac:spMk id="2" creationId="{21D3E210-81C3-44A0-AB77-BFD41D96DB66}"/>
          </ac:spMkLst>
        </pc:spChg>
        <pc:spChg chg="mod">
          <ac:chgData name="Chen, Jiajian" userId="688cd47b-9fa9-4323-b4ce-9675c58664e5" providerId="ADAL" clId="{F15DBAC2-39B6-4172-B25C-45DACD38059C}" dt="2022-08-10T16:15:57.293" v="1671" actId="108"/>
          <ac:spMkLst>
            <pc:docMk/>
            <pc:sldMk cId="3260269924" sldId="432"/>
            <ac:spMk id="10" creationId="{7CA3DECC-EFF5-4DA5-B189-3C49FD9D7DAB}"/>
          </ac:spMkLst>
        </pc:spChg>
        <pc:spChg chg="mod">
          <ac:chgData name="Chen, Jiajian" userId="688cd47b-9fa9-4323-b4ce-9675c58664e5" providerId="ADAL" clId="{F15DBAC2-39B6-4172-B25C-45DACD38059C}" dt="2022-08-10T15:23:23.191" v="216" actId="164"/>
          <ac:spMkLst>
            <pc:docMk/>
            <pc:sldMk cId="3260269924" sldId="432"/>
            <ac:spMk id="11" creationId="{FD3C43A7-A285-4C4F-82F2-E96D44516EE1}"/>
          </ac:spMkLst>
        </pc:spChg>
        <pc:grpChg chg="add mod">
          <ac:chgData name="Chen, Jiajian" userId="688cd47b-9fa9-4323-b4ce-9675c58664e5" providerId="ADAL" clId="{F15DBAC2-39B6-4172-B25C-45DACD38059C}" dt="2022-08-10T15:23:23.191" v="216" actId="164"/>
          <ac:grpSpMkLst>
            <pc:docMk/>
            <pc:sldMk cId="3260269924" sldId="432"/>
            <ac:grpSpMk id="8" creationId="{51FFFCD0-6B3F-4AD4-8DB3-1464D4DA6324}"/>
          </ac:grpSpMkLst>
        </pc:grpChg>
        <pc:picChg chg="add mod ord">
          <ac:chgData name="Chen, Jiajian" userId="688cd47b-9fa9-4323-b4ce-9675c58664e5" providerId="ADAL" clId="{F15DBAC2-39B6-4172-B25C-45DACD38059C}" dt="2022-08-10T15:23:25.768" v="217" actId="1076"/>
          <ac:picMkLst>
            <pc:docMk/>
            <pc:sldMk cId="3260269924" sldId="432"/>
            <ac:picMk id="6" creationId="{6FC71467-A02D-4107-9CFE-42A923616FFF}"/>
          </ac:picMkLst>
        </pc:picChg>
        <pc:picChg chg="del">
          <ac:chgData name="Chen, Jiajian" userId="688cd47b-9fa9-4323-b4ce-9675c58664e5" providerId="ADAL" clId="{F15DBAC2-39B6-4172-B25C-45DACD38059C}" dt="2022-08-10T15:22:43.658" v="200" actId="478"/>
          <ac:picMkLst>
            <pc:docMk/>
            <pc:sldMk cId="3260269924" sldId="432"/>
            <ac:picMk id="7" creationId="{D5C054E6-B7B2-4971-BF88-5D70151595CC}"/>
          </ac:picMkLst>
        </pc:picChg>
      </pc:sldChg>
      <pc:sldChg chg="del">
        <pc:chgData name="Chen, Jiajian" userId="688cd47b-9fa9-4323-b4ce-9675c58664e5" providerId="ADAL" clId="{F15DBAC2-39B6-4172-B25C-45DACD38059C}" dt="2022-08-10T14:56:56.371" v="193" actId="2696"/>
        <pc:sldMkLst>
          <pc:docMk/>
          <pc:sldMk cId="1114208867" sldId="433"/>
        </pc:sldMkLst>
      </pc:sldChg>
      <pc:sldChg chg="addSp delSp modSp del mod">
        <pc:chgData name="Chen, Jiajian" userId="688cd47b-9fa9-4323-b4ce-9675c58664e5" providerId="ADAL" clId="{F15DBAC2-39B6-4172-B25C-45DACD38059C}" dt="2022-08-10T16:16:14.967" v="1672" actId="2696"/>
        <pc:sldMkLst>
          <pc:docMk/>
          <pc:sldMk cId="2860293541" sldId="435"/>
        </pc:sldMkLst>
        <pc:spChg chg="del">
          <ac:chgData name="Chen, Jiajian" userId="688cd47b-9fa9-4323-b4ce-9675c58664e5" providerId="ADAL" clId="{F15DBAC2-39B6-4172-B25C-45DACD38059C}" dt="2022-08-10T14:57:22.375" v="199" actId="478"/>
          <ac:spMkLst>
            <pc:docMk/>
            <pc:sldMk cId="2860293541" sldId="435"/>
            <ac:spMk id="3" creationId="{8BC99889-F108-4D6D-80E6-C1530665336E}"/>
          </ac:spMkLst>
        </pc:spChg>
        <pc:spChg chg="add mod">
          <ac:chgData name="Chen, Jiajian" userId="688cd47b-9fa9-4323-b4ce-9675c58664e5" providerId="ADAL" clId="{F15DBAC2-39B6-4172-B25C-45DACD38059C}" dt="2022-08-10T14:57:22.375" v="199" actId="478"/>
          <ac:spMkLst>
            <pc:docMk/>
            <pc:sldMk cId="2860293541" sldId="435"/>
            <ac:spMk id="5" creationId="{91B1EFF7-0AE2-4EF3-8BCF-075930831377}"/>
          </ac:spMkLst>
        </pc:spChg>
      </pc:sldChg>
      <pc:sldChg chg="addSp delSp modSp new mod">
        <pc:chgData name="Chen, Jiajian" userId="688cd47b-9fa9-4323-b4ce-9675c58664e5" providerId="ADAL" clId="{F15DBAC2-39B6-4172-B25C-45DACD38059C}" dt="2022-08-10T16:13:30.665" v="1645" actId="1076"/>
        <pc:sldMkLst>
          <pc:docMk/>
          <pc:sldMk cId="295058932" sldId="436"/>
        </pc:sldMkLst>
        <pc:spChg chg="mod">
          <ac:chgData name="Chen, Jiajian" userId="688cd47b-9fa9-4323-b4ce-9675c58664e5" providerId="ADAL" clId="{F15DBAC2-39B6-4172-B25C-45DACD38059C}" dt="2022-08-10T14:35:09.309" v="98" actId="20577"/>
          <ac:spMkLst>
            <pc:docMk/>
            <pc:sldMk cId="295058932" sldId="436"/>
            <ac:spMk id="2" creationId="{C9CCFFDA-0B6E-43C4-9DBC-0625E50B82D2}"/>
          </ac:spMkLst>
        </pc:spChg>
        <pc:spChg chg="mod">
          <ac:chgData name="Chen, Jiajian" userId="688cd47b-9fa9-4323-b4ce-9675c58664e5" providerId="ADAL" clId="{F15DBAC2-39B6-4172-B25C-45DACD38059C}" dt="2022-08-10T16:04:05.987" v="1602" actId="404"/>
          <ac:spMkLst>
            <pc:docMk/>
            <pc:sldMk cId="295058932" sldId="436"/>
            <ac:spMk id="3" creationId="{007EAB61-78F3-4B27-BB75-F155C1B7F795}"/>
          </ac:spMkLst>
        </pc:spChg>
        <pc:spChg chg="mod">
          <ac:chgData name="Chen, Jiajian" userId="688cd47b-9fa9-4323-b4ce-9675c58664e5" providerId="ADAL" clId="{F15DBAC2-39B6-4172-B25C-45DACD38059C}" dt="2022-08-10T14:36:27.991" v="122" actId="20577"/>
          <ac:spMkLst>
            <pc:docMk/>
            <pc:sldMk cId="295058932" sldId="436"/>
            <ac:spMk id="4" creationId="{C9E64E13-505E-4F09-9E61-B8C0FB864C59}"/>
          </ac:spMkLst>
        </pc:spChg>
        <pc:spChg chg="add del mod">
          <ac:chgData name="Chen, Jiajian" userId="688cd47b-9fa9-4323-b4ce-9675c58664e5" providerId="ADAL" clId="{F15DBAC2-39B6-4172-B25C-45DACD38059C}" dt="2022-08-10T16:11:06.676" v="1627" actId="478"/>
          <ac:spMkLst>
            <pc:docMk/>
            <pc:sldMk cId="295058932" sldId="436"/>
            <ac:spMk id="9" creationId="{BFF31EEA-7F64-46C9-A4CE-ED841252D102}"/>
          </ac:spMkLst>
        </pc:spChg>
        <pc:spChg chg="add mod">
          <ac:chgData name="Chen, Jiajian" userId="688cd47b-9fa9-4323-b4ce-9675c58664e5" providerId="ADAL" clId="{F15DBAC2-39B6-4172-B25C-45DACD38059C}" dt="2022-08-10T16:13:30.665" v="1645" actId="1076"/>
          <ac:spMkLst>
            <pc:docMk/>
            <pc:sldMk cId="295058932" sldId="436"/>
            <ac:spMk id="10" creationId="{0499B401-B2B8-40B8-A46B-2962A630E736}"/>
          </ac:spMkLst>
        </pc:spChg>
        <pc:spChg chg="add mod">
          <ac:chgData name="Chen, Jiajian" userId="688cd47b-9fa9-4323-b4ce-9675c58664e5" providerId="ADAL" clId="{F15DBAC2-39B6-4172-B25C-45DACD38059C}" dt="2022-08-10T16:13:17.990" v="1638" actId="1076"/>
          <ac:spMkLst>
            <pc:docMk/>
            <pc:sldMk cId="295058932" sldId="436"/>
            <ac:spMk id="11" creationId="{8DD65190-BBB6-428F-A436-09B129DB39C9}"/>
          </ac:spMkLst>
        </pc:spChg>
        <pc:picChg chg="add mod">
          <ac:chgData name="Chen, Jiajian" userId="688cd47b-9fa9-4323-b4ce-9675c58664e5" providerId="ADAL" clId="{F15DBAC2-39B6-4172-B25C-45DACD38059C}" dt="2022-08-10T16:13:27.409" v="1644" actId="1076"/>
          <ac:picMkLst>
            <pc:docMk/>
            <pc:sldMk cId="295058932" sldId="436"/>
            <ac:picMk id="6" creationId="{8F20F124-C665-4563-9EF2-028D097F69C1}"/>
          </ac:picMkLst>
        </pc:picChg>
        <pc:picChg chg="add mod">
          <ac:chgData name="Chen, Jiajian" userId="688cd47b-9fa9-4323-b4ce-9675c58664e5" providerId="ADAL" clId="{F15DBAC2-39B6-4172-B25C-45DACD38059C}" dt="2022-08-10T16:13:12.446" v="1635" actId="1076"/>
          <ac:picMkLst>
            <pc:docMk/>
            <pc:sldMk cId="295058932" sldId="436"/>
            <ac:picMk id="8" creationId="{FD2BE11C-58CD-4517-9415-A12CCAD67480}"/>
          </ac:picMkLst>
        </pc:picChg>
      </pc:sldChg>
      <pc:sldChg chg="addSp delSp modSp new mod">
        <pc:chgData name="Chen, Jiajian" userId="688cd47b-9fa9-4323-b4ce-9675c58664e5" providerId="ADAL" clId="{F15DBAC2-39B6-4172-B25C-45DACD38059C}" dt="2022-08-10T15:51:42.606" v="760" actId="20577"/>
        <pc:sldMkLst>
          <pc:docMk/>
          <pc:sldMk cId="1027278946" sldId="437"/>
        </pc:sldMkLst>
        <pc:spChg chg="mod">
          <ac:chgData name="Chen, Jiajian" userId="688cd47b-9fa9-4323-b4ce-9675c58664e5" providerId="ADAL" clId="{F15DBAC2-39B6-4172-B25C-45DACD38059C}" dt="2022-08-10T15:51:42.606" v="760" actId="20577"/>
          <ac:spMkLst>
            <pc:docMk/>
            <pc:sldMk cId="1027278946" sldId="437"/>
            <ac:spMk id="2" creationId="{E05BDA75-AA78-4FF1-8DD7-DD8DDC91F74F}"/>
          </ac:spMkLst>
        </pc:spChg>
        <pc:spChg chg="del">
          <ac:chgData name="Chen, Jiajian" userId="688cd47b-9fa9-4323-b4ce-9675c58664e5" providerId="ADAL" clId="{F15DBAC2-39B6-4172-B25C-45DACD38059C}" dt="2022-08-10T15:47:15.213" v="684" actId="478"/>
          <ac:spMkLst>
            <pc:docMk/>
            <pc:sldMk cId="1027278946" sldId="437"/>
            <ac:spMk id="3" creationId="{CC0DF5CC-84A5-4965-995F-03B0B9E560EA}"/>
          </ac:spMkLst>
        </pc:spChg>
        <pc:spChg chg="mod">
          <ac:chgData name="Chen, Jiajian" userId="688cd47b-9fa9-4323-b4ce-9675c58664e5" providerId="ADAL" clId="{F15DBAC2-39B6-4172-B25C-45DACD38059C}" dt="2022-08-10T15:50:58.279" v="752" actId="12788"/>
          <ac:spMkLst>
            <pc:docMk/>
            <pc:sldMk cId="1027278946" sldId="437"/>
            <ac:spMk id="4" creationId="{9923C700-0B5D-42C8-8099-DE183CCD5717}"/>
          </ac:spMkLst>
        </pc:spChg>
        <pc:spChg chg="add mod">
          <ac:chgData name="Chen, Jiajian" userId="688cd47b-9fa9-4323-b4ce-9675c58664e5" providerId="ADAL" clId="{F15DBAC2-39B6-4172-B25C-45DACD38059C}" dt="2022-08-10T15:50:58.279" v="752" actId="12788"/>
          <ac:spMkLst>
            <pc:docMk/>
            <pc:sldMk cId="1027278946" sldId="437"/>
            <ac:spMk id="9" creationId="{6C7EBA79-6E75-49AA-B1AE-48A905E51940}"/>
          </ac:spMkLst>
        </pc:spChg>
        <pc:picChg chg="add mod modCrop">
          <ac:chgData name="Chen, Jiajian" userId="688cd47b-9fa9-4323-b4ce-9675c58664e5" providerId="ADAL" clId="{F15DBAC2-39B6-4172-B25C-45DACD38059C}" dt="2022-08-10T15:51:18.891" v="755" actId="732"/>
          <ac:picMkLst>
            <pc:docMk/>
            <pc:sldMk cId="1027278946" sldId="437"/>
            <ac:picMk id="6" creationId="{71525C4F-E995-42B6-9FDD-2DE5E24B8CE6}"/>
          </ac:picMkLst>
        </pc:picChg>
        <pc:picChg chg="add mod">
          <ac:chgData name="Chen, Jiajian" userId="688cd47b-9fa9-4323-b4ce-9675c58664e5" providerId="ADAL" clId="{F15DBAC2-39B6-4172-B25C-45DACD38059C}" dt="2022-08-10T15:51:11.106" v="754" actId="1076"/>
          <ac:picMkLst>
            <pc:docMk/>
            <pc:sldMk cId="1027278946" sldId="437"/>
            <ac:picMk id="8" creationId="{FC9BFF67-0A46-463E-8C37-8255F982F9B5}"/>
          </ac:picMkLst>
        </pc:picChg>
      </pc:sldChg>
      <pc:sldChg chg="addSp delSp modSp new mod">
        <pc:chgData name="Chen, Jiajian" userId="688cd47b-9fa9-4323-b4ce-9675c58664e5" providerId="ADAL" clId="{F15DBAC2-39B6-4172-B25C-45DACD38059C}" dt="2022-08-10T14:57:14.191" v="198"/>
        <pc:sldMkLst>
          <pc:docMk/>
          <pc:sldMk cId="1181021456" sldId="438"/>
        </pc:sldMkLst>
        <pc:spChg chg="del">
          <ac:chgData name="Chen, Jiajian" userId="688cd47b-9fa9-4323-b4ce-9675c58664e5" providerId="ADAL" clId="{F15DBAC2-39B6-4172-B25C-45DACD38059C}" dt="2022-08-10T14:57:13.011" v="197" actId="478"/>
          <ac:spMkLst>
            <pc:docMk/>
            <pc:sldMk cId="1181021456" sldId="438"/>
            <ac:spMk id="3" creationId="{2CA814D3-1C12-48A6-9A7C-8E87B827AA8F}"/>
          </ac:spMkLst>
        </pc:spChg>
        <pc:spChg chg="add del mod">
          <ac:chgData name="Chen, Jiajian" userId="688cd47b-9fa9-4323-b4ce-9675c58664e5" providerId="ADAL" clId="{F15DBAC2-39B6-4172-B25C-45DACD38059C}" dt="2022-08-10T14:57:10.934" v="196" actId="478"/>
          <ac:spMkLst>
            <pc:docMk/>
            <pc:sldMk cId="1181021456" sldId="438"/>
            <ac:spMk id="4" creationId="{5CE2C847-BC98-4BEF-AD9C-7C1E6D60F8E4}"/>
          </ac:spMkLst>
        </pc:spChg>
        <pc:spChg chg="add mod">
          <ac:chgData name="Chen, Jiajian" userId="688cd47b-9fa9-4323-b4ce-9675c58664e5" providerId="ADAL" clId="{F15DBAC2-39B6-4172-B25C-45DACD38059C}" dt="2022-08-10T14:57:14.191" v="198"/>
          <ac:spMkLst>
            <pc:docMk/>
            <pc:sldMk cId="1181021456" sldId="438"/>
            <ac:spMk id="5" creationId="{522BE5A4-A3E3-424C-B4FF-850F4474F100}"/>
          </ac:spMkLst>
        </pc:spChg>
      </pc:sldChg>
      <pc:sldChg chg="new del">
        <pc:chgData name="Chen, Jiajian" userId="688cd47b-9fa9-4323-b4ce-9675c58664e5" providerId="ADAL" clId="{F15DBAC2-39B6-4172-B25C-45DACD38059C}" dt="2022-08-10T14:51:46.627" v="157" actId="2696"/>
        <pc:sldMkLst>
          <pc:docMk/>
          <pc:sldMk cId="1969802372" sldId="438"/>
        </pc:sldMkLst>
      </pc:sldChg>
      <pc:sldChg chg="addSp delSp modSp new mod">
        <pc:chgData name="Chen, Jiajian" userId="688cd47b-9fa9-4323-b4ce-9675c58664e5" providerId="ADAL" clId="{F15DBAC2-39B6-4172-B25C-45DACD38059C}" dt="2022-08-10T15:36:16.876" v="663" actId="1076"/>
        <pc:sldMkLst>
          <pc:docMk/>
          <pc:sldMk cId="2996104868" sldId="439"/>
        </pc:sldMkLst>
        <pc:spChg chg="del">
          <ac:chgData name="Chen, Jiajian" userId="688cd47b-9fa9-4323-b4ce-9675c58664e5" providerId="ADAL" clId="{F15DBAC2-39B6-4172-B25C-45DACD38059C}" dt="2022-08-10T15:28:34.297" v="323" actId="478"/>
          <ac:spMkLst>
            <pc:docMk/>
            <pc:sldMk cId="2996104868" sldId="439"/>
            <ac:spMk id="2" creationId="{63BCD663-7066-4BC7-9CCB-4152BF00A5E1}"/>
          </ac:spMkLst>
        </pc:spChg>
        <pc:spChg chg="del mod">
          <ac:chgData name="Chen, Jiajian" userId="688cd47b-9fa9-4323-b4ce-9675c58664e5" providerId="ADAL" clId="{F15DBAC2-39B6-4172-B25C-45DACD38059C}" dt="2022-08-10T15:28:39.334" v="324" actId="478"/>
          <ac:spMkLst>
            <pc:docMk/>
            <pc:sldMk cId="2996104868" sldId="439"/>
            <ac:spMk id="3" creationId="{46DCC885-03DB-4671-95BE-979C4119084B}"/>
          </ac:spMkLst>
        </pc:spChg>
        <pc:spChg chg="add del mod">
          <ac:chgData name="Chen, Jiajian" userId="688cd47b-9fa9-4323-b4ce-9675c58664e5" providerId="ADAL" clId="{F15DBAC2-39B6-4172-B25C-45DACD38059C}" dt="2022-08-10T15:28:46.432" v="326" actId="478"/>
          <ac:spMkLst>
            <pc:docMk/>
            <pc:sldMk cId="2996104868" sldId="439"/>
            <ac:spMk id="9" creationId="{FBC4C06A-D418-47CC-A04F-F3C2A9A90CDA}"/>
          </ac:spMkLst>
        </pc:spChg>
        <pc:spChg chg="add mod">
          <ac:chgData name="Chen, Jiajian" userId="688cd47b-9fa9-4323-b4ce-9675c58664e5" providerId="ADAL" clId="{F15DBAC2-39B6-4172-B25C-45DACD38059C}" dt="2022-08-10T15:31:52.575" v="370" actId="20577"/>
          <ac:spMkLst>
            <pc:docMk/>
            <pc:sldMk cId="2996104868" sldId="439"/>
            <ac:spMk id="10" creationId="{1A621930-8769-4A19-B591-0C9FC820C828}"/>
          </ac:spMkLst>
        </pc:spChg>
        <pc:spChg chg="add mod">
          <ac:chgData name="Chen, Jiajian" userId="688cd47b-9fa9-4323-b4ce-9675c58664e5" providerId="ADAL" clId="{F15DBAC2-39B6-4172-B25C-45DACD38059C}" dt="2022-08-10T15:36:11.918" v="661" actId="1076"/>
          <ac:spMkLst>
            <pc:docMk/>
            <pc:sldMk cId="2996104868" sldId="439"/>
            <ac:spMk id="16" creationId="{C6F768DD-112F-4E65-AA9C-65C4FE33B9F2}"/>
          </ac:spMkLst>
        </pc:spChg>
        <pc:spChg chg="add">
          <ac:chgData name="Chen, Jiajian" userId="688cd47b-9fa9-4323-b4ce-9675c58664e5" providerId="ADAL" clId="{F15DBAC2-39B6-4172-B25C-45DACD38059C}" dt="2022-08-10T15:32:59.741" v="433" actId="11529"/>
          <ac:spMkLst>
            <pc:docMk/>
            <pc:sldMk cId="2996104868" sldId="439"/>
            <ac:spMk id="17" creationId="{CAAEC6D8-AB4A-4652-A142-BA7E04AE993B}"/>
          </ac:spMkLst>
        </pc:spChg>
        <pc:spChg chg="add mod">
          <ac:chgData name="Chen, Jiajian" userId="688cd47b-9fa9-4323-b4ce-9675c58664e5" providerId="ADAL" clId="{F15DBAC2-39B6-4172-B25C-45DACD38059C}" dt="2022-08-10T15:36:16.876" v="663" actId="1076"/>
          <ac:spMkLst>
            <pc:docMk/>
            <pc:sldMk cId="2996104868" sldId="439"/>
            <ac:spMk id="18" creationId="{AF3B204C-C750-4A0D-A9CB-24FA71C65871}"/>
          </ac:spMkLst>
        </pc:spChg>
        <pc:spChg chg="add mod">
          <ac:chgData name="Chen, Jiajian" userId="688cd47b-9fa9-4323-b4ce-9675c58664e5" providerId="ADAL" clId="{F15DBAC2-39B6-4172-B25C-45DACD38059C}" dt="2022-08-10T15:35:53.496" v="659" actId="1076"/>
          <ac:spMkLst>
            <pc:docMk/>
            <pc:sldMk cId="2996104868" sldId="439"/>
            <ac:spMk id="19" creationId="{7A7EA675-AFBA-4334-A6DE-BBD31EF39AC0}"/>
          </ac:spMkLst>
        </pc:spChg>
        <pc:picChg chg="add mod modCrop">
          <ac:chgData name="Chen, Jiajian" userId="688cd47b-9fa9-4323-b4ce-9675c58664e5" providerId="ADAL" clId="{F15DBAC2-39B6-4172-B25C-45DACD38059C}" dt="2022-08-10T15:36:14.415" v="662" actId="1076"/>
          <ac:picMkLst>
            <pc:docMk/>
            <pc:sldMk cId="2996104868" sldId="439"/>
            <ac:picMk id="5" creationId="{20712EFE-4F25-42B0-83B1-7C98E96E6FD9}"/>
          </ac:picMkLst>
        </pc:picChg>
        <pc:picChg chg="add mod">
          <ac:chgData name="Chen, Jiajian" userId="688cd47b-9fa9-4323-b4ce-9675c58664e5" providerId="ADAL" clId="{F15DBAC2-39B6-4172-B25C-45DACD38059C}" dt="2022-08-10T15:31:58.378" v="372" actId="1076"/>
          <ac:picMkLst>
            <pc:docMk/>
            <pc:sldMk cId="2996104868" sldId="439"/>
            <ac:picMk id="7" creationId="{D2240BE3-F761-4302-AC8C-35DE7750AB59}"/>
          </ac:picMkLst>
        </pc:picChg>
        <pc:picChg chg="add mod">
          <ac:chgData name="Chen, Jiajian" userId="688cd47b-9fa9-4323-b4ce-9675c58664e5" providerId="ADAL" clId="{F15DBAC2-39B6-4172-B25C-45DACD38059C}" dt="2022-08-10T15:32:00.552" v="373" actId="1076"/>
          <ac:picMkLst>
            <pc:docMk/>
            <pc:sldMk cId="2996104868" sldId="439"/>
            <ac:picMk id="12" creationId="{DA70FCD6-CED9-4F0C-8AA3-6E655E19A907}"/>
          </ac:picMkLst>
        </pc:picChg>
        <pc:picChg chg="add del mod">
          <ac:chgData name="Chen, Jiajian" userId="688cd47b-9fa9-4323-b4ce-9675c58664e5" providerId="ADAL" clId="{F15DBAC2-39B6-4172-B25C-45DACD38059C}" dt="2022-08-10T15:31:22.765" v="347" actId="478"/>
          <ac:picMkLst>
            <pc:docMk/>
            <pc:sldMk cId="2996104868" sldId="439"/>
            <ac:picMk id="14" creationId="{26E285FC-573F-4424-9CD6-A3CEF7148FAC}"/>
          </ac:picMkLst>
        </pc:picChg>
        <pc:picChg chg="add del mod">
          <ac:chgData name="Chen, Jiajian" userId="688cd47b-9fa9-4323-b4ce-9675c58664e5" providerId="ADAL" clId="{F15DBAC2-39B6-4172-B25C-45DACD38059C}" dt="2022-08-10T15:31:17.274" v="346"/>
          <ac:picMkLst>
            <pc:docMk/>
            <pc:sldMk cId="2996104868" sldId="439"/>
            <ac:picMk id="15" creationId="{2E246501-27D8-4F1E-9E48-05869D24CD74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F2F3C-249B-4CBC-8708-ED0E847A45B4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6EBDA9-0530-4EB2-9904-C0F166085F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8219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891613-BAB8-427F-B5A6-BCA4D4FA9E89}" type="datetimeFigureOut">
              <a:rPr lang="en-US" smtClean="0"/>
              <a:pPr/>
              <a:t>8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36ADF1-225E-4356-ACDA-52C9BCC2D48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193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itional section</a:t>
            </a:r>
            <a:r>
              <a:rPr lang="en-US" baseline="0" dirty="0"/>
              <a:t> numbers (1-9) can be found in the slide master. Select “Home” then “Layout” then select the slide template you would lik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36ADF1-225E-4356-ACDA-52C9BCC2D48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462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36ADF1-225E-4356-ACDA-52C9BCC2D480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8541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-branded closing slide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36ADF1-225E-4356-ACDA-52C9BCC2D480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613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442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3738558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98945" y="3968542"/>
            <a:ext cx="3738558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5" y="4512163"/>
            <a:ext cx="1104397" cy="47548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5EDD037-FB61-4D31-9751-29C08AA484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9904A649-8547-4C18-8F3A-6ECA9E8600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8945" y="963106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3972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8F5273F-9EB7-4EE7-B354-6E7ED9BE07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671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3738558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98945" y="3968542"/>
            <a:ext cx="3738558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945" y="963106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5" y="4512163"/>
            <a:ext cx="1104397" cy="47548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DCA5AE4-5261-437B-8AEC-AF00DB4E2C7B}"/>
              </a:ext>
            </a:extLst>
          </p:cNvPr>
          <p:cNvCxnSpPr/>
          <p:nvPr userDrawn="1"/>
        </p:nvCxnSpPr>
        <p:spPr bwMode="gray">
          <a:xfrm>
            <a:off x="493976" y="1429119"/>
            <a:ext cx="5120640" cy="119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6379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244AE9A-4627-4E87-869F-D593CC7821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671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3738558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98945" y="3968542"/>
            <a:ext cx="3738558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945" y="963106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5" y="4512163"/>
            <a:ext cx="1104397" cy="47548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DCA5AE4-5261-437B-8AEC-AF00DB4E2C7B}"/>
              </a:ext>
            </a:extLst>
          </p:cNvPr>
          <p:cNvCxnSpPr/>
          <p:nvPr userDrawn="1"/>
        </p:nvCxnSpPr>
        <p:spPr bwMode="gray">
          <a:xfrm>
            <a:off x="493976" y="1429119"/>
            <a:ext cx="5120640" cy="119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1017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5509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5206736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389" y="4787944"/>
            <a:ext cx="500970" cy="27065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9EEC752A-024D-4EE1-BF1F-B2C51ECB10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</p:spTree>
    <p:extLst>
      <p:ext uri="{BB962C8B-B14F-4D97-AF65-F5344CB8AC3E}">
        <p14:creationId xmlns:p14="http://schemas.microsoft.com/office/powerpoint/2010/main" val="15815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5433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5206736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389" y="4787944"/>
            <a:ext cx="500970" cy="27065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F5AECEF-A99A-4ECB-A2A0-4A891FA319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</p:spTree>
    <p:extLst>
      <p:ext uri="{BB962C8B-B14F-4D97-AF65-F5344CB8AC3E}">
        <p14:creationId xmlns:p14="http://schemas.microsoft.com/office/powerpoint/2010/main" val="1285824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53568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5206736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389" y="4787944"/>
            <a:ext cx="500970" cy="27065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F3EF061A-5098-41C6-83C8-CED34CE2F3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</p:spTree>
    <p:extLst>
      <p:ext uri="{BB962C8B-B14F-4D97-AF65-F5344CB8AC3E}">
        <p14:creationId xmlns:p14="http://schemas.microsoft.com/office/powerpoint/2010/main" val="320414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5052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5206736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389" y="4787944"/>
            <a:ext cx="500970" cy="27065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2EB1396-6E19-4CFA-8B2B-DDF994F48C6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</p:spTree>
    <p:extLst>
      <p:ext uri="{BB962C8B-B14F-4D97-AF65-F5344CB8AC3E}">
        <p14:creationId xmlns:p14="http://schemas.microsoft.com/office/powerpoint/2010/main" val="2301535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99"/>
            <a:ext cx="9144000" cy="34671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5206736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389" y="4787944"/>
            <a:ext cx="500970" cy="27065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904F2CC-5DCA-47E8-9C2E-BA4A69DD394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</p:spTree>
    <p:extLst>
      <p:ext uri="{BB962C8B-B14F-4D97-AF65-F5344CB8AC3E}">
        <p14:creationId xmlns:p14="http://schemas.microsoft.com/office/powerpoint/2010/main" val="175146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6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7472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5206736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389" y="4787944"/>
            <a:ext cx="500970" cy="27065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465CEBC-5834-41CB-B953-8EC3F47230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</p:spTree>
    <p:extLst>
      <p:ext uri="{BB962C8B-B14F-4D97-AF65-F5344CB8AC3E}">
        <p14:creationId xmlns:p14="http://schemas.microsoft.com/office/powerpoint/2010/main" val="383035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7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6052"/>
            <a:ext cx="9144000" cy="345948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5206736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389" y="4787944"/>
            <a:ext cx="500970" cy="27065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D385B58-13FE-4C85-9226-89514A5E6E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</p:spTree>
    <p:extLst>
      <p:ext uri="{BB962C8B-B14F-4D97-AF65-F5344CB8AC3E}">
        <p14:creationId xmlns:p14="http://schemas.microsoft.com/office/powerpoint/2010/main" val="220000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8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9758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5206736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389" y="4787944"/>
            <a:ext cx="500970" cy="27065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049891A-0D55-4FEE-B8F3-24CC82BC396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</p:spTree>
    <p:extLst>
      <p:ext uri="{BB962C8B-B14F-4D97-AF65-F5344CB8AC3E}">
        <p14:creationId xmlns:p14="http://schemas.microsoft.com/office/powerpoint/2010/main" val="2939025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442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3738558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98945" y="3968542"/>
            <a:ext cx="3738558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5" y="4512163"/>
            <a:ext cx="1104397" cy="47548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0A6CB3E-B968-4E38-98E8-30639992B8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E2CEDCF-EE5F-4BD4-9D9A-CED6577C49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8945" y="963106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12888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9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8996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5206736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533B2F4-B299-420B-8E56-6C01E0CDE7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</p:spTree>
    <p:extLst>
      <p:ext uri="{BB962C8B-B14F-4D97-AF65-F5344CB8AC3E}">
        <p14:creationId xmlns:p14="http://schemas.microsoft.com/office/powerpoint/2010/main" val="158382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9395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2141356"/>
            <a:ext cx="4538575" cy="15495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8945" y="261938"/>
            <a:ext cx="5463705" cy="166746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6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– CAPS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389" y="4787944"/>
            <a:ext cx="500970" cy="27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77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3376" y="1153515"/>
            <a:ext cx="5362490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043376" y="2802312"/>
            <a:ext cx="5362490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lt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7" name="Picture 16" descr="IRI_logo_RGB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389" y="4787944"/>
            <a:ext cx="500970" cy="27065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3038407" y="2654892"/>
            <a:ext cx="5120640" cy="119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 userDrawn="1"/>
        </p:nvSpPr>
        <p:spPr bwMode="ltGray">
          <a:xfrm>
            <a:off x="0" y="-4883"/>
            <a:ext cx="9144000" cy="159934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5789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0" y="4540778"/>
            <a:ext cx="9144000" cy="159934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>
            <a:off x="513566" y="1133787"/>
            <a:ext cx="5120640" cy="119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8535" y="1339116"/>
            <a:ext cx="5201767" cy="139129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18535" y="601032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2" name="TextBox 21"/>
          <p:cNvSpPr txBox="1"/>
          <p:nvPr userDrawn="1"/>
        </p:nvSpPr>
        <p:spPr bwMode="gray"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61389" y="4787944"/>
            <a:ext cx="500970" cy="27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957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0" y="4540778"/>
            <a:ext cx="9144000" cy="159934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2" name="TextBox 21"/>
          <p:cNvSpPr txBox="1"/>
          <p:nvPr userDrawn="1"/>
        </p:nvSpPr>
        <p:spPr bwMode="gray"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61389" y="4787944"/>
            <a:ext cx="500970" cy="27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984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0" y="4540778"/>
            <a:ext cx="9144000" cy="159934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2" name="TextBox 21"/>
          <p:cNvSpPr txBox="1"/>
          <p:nvPr userDrawn="1"/>
        </p:nvSpPr>
        <p:spPr bwMode="gray"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61389" y="4787944"/>
            <a:ext cx="500970" cy="27065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277398"/>
            <a:ext cx="8503920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20040" y="881059"/>
            <a:ext cx="8503919" cy="247650"/>
          </a:xfrm>
        </p:spPr>
        <p:txBody>
          <a:bodyPr/>
          <a:lstStyle>
            <a:lvl1pPr marL="0" indent="0">
              <a:buNone/>
              <a:defRPr sz="1400" b="0" i="1"/>
            </a:lvl1pPr>
            <a:lvl2pPr marL="263127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387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&amp; Extra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277398"/>
            <a:ext cx="8503920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0040" y="1342768"/>
            <a:ext cx="8503919" cy="328161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05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20040" y="881059"/>
            <a:ext cx="8503919" cy="247650"/>
          </a:xfrm>
        </p:spPr>
        <p:txBody>
          <a:bodyPr/>
          <a:lstStyle>
            <a:lvl1pPr marL="0" indent="0">
              <a:buNone/>
              <a:defRPr sz="1400" b="0" i="1"/>
            </a:lvl1pPr>
            <a:lvl2pPr marL="263127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193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277398"/>
            <a:ext cx="8503920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</p:spTree>
    <p:extLst>
      <p:ext uri="{BB962C8B-B14F-4D97-AF65-F5344CB8AC3E}">
        <p14:creationId xmlns:p14="http://schemas.microsoft.com/office/powerpoint/2010/main" val="276321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&amp;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277398"/>
            <a:ext cx="8503920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20040" y="881059"/>
            <a:ext cx="8503919" cy="247650"/>
          </a:xfrm>
        </p:spPr>
        <p:txBody>
          <a:bodyPr/>
          <a:lstStyle>
            <a:lvl1pPr marL="0" indent="0">
              <a:buNone/>
              <a:defRPr sz="1400" b="0" i="1"/>
            </a:lvl1pPr>
            <a:lvl2pPr marL="263127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379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Product 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0040" y="277398"/>
            <a:ext cx="6784450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320040" y="881059"/>
            <a:ext cx="8503919" cy="247650"/>
          </a:xfrm>
        </p:spPr>
        <p:txBody>
          <a:bodyPr/>
          <a:lstStyle>
            <a:lvl1pPr marL="0" indent="0">
              <a:buNone/>
              <a:defRPr sz="1400" b="0" i="1"/>
            </a:lvl1pPr>
            <a:lvl2pPr marL="263127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87"/>
          <a:stretch/>
        </p:blipFill>
        <p:spPr bwMode="gray">
          <a:xfrm>
            <a:off x="6918397" y="164803"/>
            <a:ext cx="1895997" cy="824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61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C08980-0618-4F5C-9D12-C7A15B42F3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671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3738558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98945" y="3968542"/>
            <a:ext cx="3738558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IRI_logo_tagline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5" y="4512163"/>
            <a:ext cx="1104397" cy="4754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5CDC6C6-C16A-4337-AC49-1B4700AFF186}"/>
              </a:ext>
            </a:extLst>
          </p:cNvPr>
          <p:cNvCxnSpPr/>
          <p:nvPr userDrawn="1"/>
        </p:nvCxnSpPr>
        <p:spPr bwMode="gray">
          <a:xfrm>
            <a:off x="493976" y="1429119"/>
            <a:ext cx="5120640" cy="119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ABF3B504-691D-46F7-8FD7-046DC95443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336E7C7-57CF-4BF9-96E9-103F97263F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8945" y="963106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7323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-4884"/>
            <a:ext cx="9144000" cy="284747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0040" y="277398"/>
            <a:ext cx="8503920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320040" y="811174"/>
            <a:ext cx="8503920" cy="119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320040" y="881059"/>
            <a:ext cx="8503919" cy="247650"/>
          </a:xfrm>
        </p:spPr>
        <p:txBody>
          <a:bodyPr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263127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2093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ed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0" y="545970"/>
            <a:ext cx="9144000" cy="264414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 bwMode="gray">
          <a:xfrm>
            <a:off x="0" y="1149286"/>
            <a:ext cx="9144000" cy="152862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ts val="5600"/>
              </a:lnSpc>
            </a:pPr>
            <a:r>
              <a:rPr lang="en-US" sz="5400" b="1" spc="0" dirty="0">
                <a:solidFill>
                  <a:schemeClr val="accent1"/>
                </a:solidFill>
              </a:rPr>
              <a:t>THANK</a:t>
            </a:r>
            <a:br>
              <a:rPr lang="en-US" sz="5400" b="1" spc="0" dirty="0">
                <a:solidFill>
                  <a:schemeClr val="accent1"/>
                </a:solidFill>
              </a:rPr>
            </a:br>
            <a:r>
              <a:rPr lang="en-US" sz="5400" b="1" spc="0" dirty="0">
                <a:solidFill>
                  <a:schemeClr val="accent1"/>
                </a:solidFill>
              </a:rPr>
              <a:t>YOU!</a:t>
            </a:r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1" y="3022868"/>
            <a:ext cx="91439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1600" b="1" dirty="0">
                <a:solidFill>
                  <a:schemeClr val="accent3"/>
                </a:solidFill>
              </a:rPr>
              <a:t>For More Information, Contact Us…</a:t>
            </a:r>
          </a:p>
          <a:p>
            <a:pPr algn="ctr">
              <a:spcAft>
                <a:spcPts val="1200"/>
              </a:spcAft>
            </a:pPr>
            <a:r>
              <a:rPr lang="en-US" sz="1200" b="1" dirty="0">
                <a:solidFill>
                  <a:srgbClr val="616365"/>
                </a:solidFill>
              </a:rPr>
              <a:t>IRI Global Headquarters</a:t>
            </a:r>
            <a:br>
              <a:rPr lang="en-US" sz="1200" dirty="0">
                <a:solidFill>
                  <a:srgbClr val="616365"/>
                </a:solidFill>
              </a:rPr>
            </a:br>
            <a:r>
              <a:rPr lang="en-US" sz="1200" dirty="0">
                <a:solidFill>
                  <a:srgbClr val="616365"/>
                </a:solidFill>
              </a:rPr>
              <a:t>203 North LaSalle Street, Suite 1500, Chicago, IL 60601</a:t>
            </a:r>
            <a:br>
              <a:rPr lang="en-US" sz="1200" dirty="0">
                <a:solidFill>
                  <a:srgbClr val="616365"/>
                </a:solidFill>
              </a:rPr>
            </a:br>
            <a:r>
              <a:rPr lang="en-US" sz="1200" dirty="0">
                <a:solidFill>
                  <a:srgbClr val="616365"/>
                </a:solidFill>
              </a:rPr>
              <a:t>IRI@IRIworldwide.com</a:t>
            </a:r>
            <a:br>
              <a:rPr lang="en-US" sz="1200" dirty="0">
                <a:solidFill>
                  <a:srgbClr val="616365"/>
                </a:solidFill>
              </a:rPr>
            </a:br>
            <a:r>
              <a:rPr lang="en-US" sz="1200" dirty="0">
                <a:solidFill>
                  <a:srgbClr val="616365"/>
                </a:solidFill>
              </a:rPr>
              <a:t>+1 312.726.1221</a:t>
            </a:r>
          </a:p>
          <a:p>
            <a:pPr algn="ctr">
              <a:spcAft>
                <a:spcPts val="1200"/>
              </a:spcAft>
            </a:pPr>
            <a:r>
              <a:rPr lang="en-US" sz="1200" dirty="0">
                <a:solidFill>
                  <a:schemeClr val="accent3"/>
                </a:solidFill>
              </a:rPr>
              <a:t>Follow us on Twitter: </a:t>
            </a:r>
            <a:r>
              <a:rPr lang="en-US" sz="1200" b="1" dirty="0">
                <a:solidFill>
                  <a:schemeClr val="accent3"/>
                </a:solidFill>
              </a:rPr>
              <a:t>@IRIworldwide</a:t>
            </a:r>
          </a:p>
        </p:txBody>
      </p:sp>
      <p:pic>
        <p:nvPicPr>
          <p:cNvPr id="6" name="Picture 5" descr="IRI_logo_RGB.wmf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3094"/>
          <a:stretch/>
        </p:blipFill>
        <p:spPr bwMode="gray">
          <a:xfrm>
            <a:off x="6708141" y="1018600"/>
            <a:ext cx="1484245" cy="17095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87895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442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3738558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98945" y="3968542"/>
            <a:ext cx="3738558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5" y="4512163"/>
            <a:ext cx="1104397" cy="47548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02FD9D6-C4DD-43A5-A45B-A1930F2FAE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9B3140EB-3B02-4034-B7C3-0E734AFD11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8945" y="963106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3575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442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3738558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98945" y="3968542"/>
            <a:ext cx="3738558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5" y="4512163"/>
            <a:ext cx="1104397" cy="47548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FEEF7281-2017-4216-9D89-FCE6A635E5C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A0A9911-530E-4689-8C80-1B17F3BE30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8945" y="963106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92488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442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3738558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98945" y="3968542"/>
            <a:ext cx="3738558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5" y="4512163"/>
            <a:ext cx="1104397" cy="47548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A88757B-FCD3-4446-9EF6-EA1E90EC8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9396639-4E20-47E6-BCDD-84E846EBDA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8945" y="963106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81072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442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3738558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98945" y="3968542"/>
            <a:ext cx="3738558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5" y="4512163"/>
            <a:ext cx="1104397" cy="47548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284D173-17EB-4F76-8FB7-D6497C7D8F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3926C9E-4544-47C7-BCC0-83F3E1A6FC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8945" y="963106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866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4424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3738558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98945" y="3968542"/>
            <a:ext cx="3738558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5" y="4512163"/>
            <a:ext cx="1104397" cy="47548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0ECF4AA-58E1-4C11-A016-B935030A31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A8C5D4F-4608-4C11-8532-8EA0FB01AF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8945" y="963106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08380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87688C-FFF9-49A3-A2BD-BC32089386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4671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8945" y="3120365"/>
            <a:ext cx="3738558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98945" y="3968542"/>
            <a:ext cx="3738558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8945" y="1567706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945" y="963106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 descr="IRI_logo_tagline_RGB.w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45" y="4512163"/>
            <a:ext cx="1104397" cy="47548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DCA5AE4-5261-437B-8AEC-AF00DB4E2C7B}"/>
              </a:ext>
            </a:extLst>
          </p:cNvPr>
          <p:cNvCxnSpPr/>
          <p:nvPr userDrawn="1"/>
        </p:nvCxnSpPr>
        <p:spPr bwMode="gray">
          <a:xfrm>
            <a:off x="493976" y="1429119"/>
            <a:ext cx="5120640" cy="119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04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w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20040" y="277398"/>
            <a:ext cx="8503920" cy="4738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3706047" y="4844732"/>
            <a:ext cx="4699819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600" dirty="0"/>
              <a:t>© 2022 Information Resources Inc. (IRI). Confidential and Proprietary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20040" y="959368"/>
            <a:ext cx="8366760" cy="36928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Slide Number Placeholder 5"/>
          <p:cNvSpPr txBox="1">
            <a:spLocks/>
          </p:cNvSpPr>
          <p:nvPr userDrawn="1"/>
        </p:nvSpPr>
        <p:spPr bwMode="gray"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0" y="-4883"/>
            <a:ext cx="9144000" cy="159934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320040" y="811174"/>
            <a:ext cx="8503920" cy="1191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61389" y="4787944"/>
            <a:ext cx="500970" cy="27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34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691" r:id="rId12"/>
    <p:sldLayoutId id="2147483688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89" r:id="rId19"/>
    <p:sldLayoutId id="2147483669" r:id="rId20"/>
    <p:sldLayoutId id="2147483670" r:id="rId21"/>
    <p:sldLayoutId id="2147483672" r:id="rId22"/>
    <p:sldLayoutId id="2147483673" r:id="rId23"/>
    <p:sldLayoutId id="2147483718" r:id="rId24"/>
    <p:sldLayoutId id="2147483717" r:id="rId25"/>
    <p:sldLayoutId id="2147483664" r:id="rId26"/>
    <p:sldLayoutId id="2147483676" r:id="rId27"/>
    <p:sldLayoutId id="2147483678" r:id="rId28"/>
    <p:sldLayoutId id="2147483677" r:id="rId29"/>
    <p:sldLayoutId id="2147483702" r:id="rId30"/>
    <p:sldLayoutId id="2147483698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85800" rtl="0" eaLnBrk="1" latinLnBrk="0" hangingPunct="1">
        <a:spcBef>
          <a:spcPct val="0"/>
        </a:spcBef>
        <a:buNone/>
        <a:defRPr sz="18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70260" indent="-17026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31006" indent="-167879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7466" indent="-171450" algn="l" defTabSz="1584722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/>
        </a:buClr>
        <a:buSzPct val="80000"/>
        <a:buFont typeface="Courier New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ts val="1350"/>
        </a:lnSpc>
        <a:spcBef>
          <a:spcPct val="20000"/>
        </a:spcBef>
        <a:buClr>
          <a:schemeClr val="accent2"/>
        </a:buClr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ts val="1350"/>
        </a:lnSpc>
        <a:spcBef>
          <a:spcPct val="20000"/>
        </a:spcBef>
        <a:buClr>
          <a:schemeClr val="accent2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EC7D69EE-EBC3-4D50-9517-E0AA44B552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8945" y="3120364"/>
            <a:ext cx="3738558" cy="646963"/>
          </a:xfrm>
        </p:spPr>
        <p:txBody>
          <a:bodyPr/>
          <a:lstStyle/>
          <a:p>
            <a:r>
              <a:rPr lang="en-US" dirty="0"/>
              <a:t>Edward Bergman</a:t>
            </a:r>
          </a:p>
          <a:p>
            <a:r>
              <a:rPr lang="en-US" dirty="0"/>
              <a:t>Stella-Leonie Wancke</a:t>
            </a:r>
          </a:p>
          <a:p>
            <a:r>
              <a:rPr lang="en-US" dirty="0"/>
              <a:t>Jiajian(Drew) Che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67EC302-0E64-4ABA-8786-C8DEABEF23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8945" y="3968542"/>
            <a:ext cx="3738558" cy="349481"/>
          </a:xfrm>
        </p:spPr>
        <p:txBody>
          <a:bodyPr/>
          <a:lstStyle/>
          <a:p>
            <a:r>
              <a:rPr lang="en-US" dirty="0"/>
              <a:t>August 9, 2022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A12DB4E0-923C-4400-9427-41D48D052B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8945" y="1567706"/>
            <a:ext cx="5201767" cy="1391291"/>
          </a:xfrm>
        </p:spPr>
        <p:txBody>
          <a:bodyPr/>
          <a:lstStyle/>
          <a:p>
            <a:r>
              <a:rPr lang="en-US" dirty="0"/>
              <a:t>Comp Grid</a:t>
            </a:r>
            <a:br>
              <a:rPr lang="en-US" dirty="0"/>
            </a:br>
            <a:r>
              <a:rPr lang="en-US" dirty="0"/>
              <a:t>Automation</a:t>
            </a:r>
            <a:br>
              <a:rPr lang="en-US" dirty="0"/>
            </a:br>
            <a:endParaRPr lang="en-US" dirty="0"/>
          </a:p>
        </p:txBody>
      </p:sp>
      <p:sp>
        <p:nvSpPr>
          <p:cNvPr id="13" name="Subtitle 4">
            <a:extLst>
              <a:ext uri="{FF2B5EF4-FFF2-40B4-BE49-F238E27FC236}">
                <a16:creationId xmlns:a16="http://schemas.microsoft.com/office/drawing/2014/main" id="{791C4D41-0795-42B1-AB38-53D9C67EA9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8945" y="963106"/>
            <a:ext cx="5201767" cy="328617"/>
          </a:xfrm>
        </p:spPr>
        <p:txBody>
          <a:bodyPr/>
          <a:lstStyle/>
          <a:p>
            <a:r>
              <a:rPr lang="en-US" dirty="0"/>
              <a:t>User Manual</a:t>
            </a:r>
          </a:p>
        </p:txBody>
      </p:sp>
    </p:spTree>
    <p:extLst>
      <p:ext uri="{BB962C8B-B14F-4D97-AF65-F5344CB8AC3E}">
        <p14:creationId xmlns:p14="http://schemas.microsoft.com/office/powerpoint/2010/main" val="2026957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P_RGM_ClientName_CUSTOME_PPG_List.csv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file downloaded from AMP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ED542A4-B68A-46D0-AD22-317F279CD1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39" y="2471090"/>
            <a:ext cx="8355788" cy="829846"/>
          </a:xfrm>
        </p:spPr>
        <p:txBody>
          <a:bodyPr/>
          <a:lstStyle/>
          <a:p>
            <a:r>
              <a:rPr lang="en-US" dirty="0"/>
              <a:t>This file is for automating mapping the PPG Id and PPG Name in the final output so that it’s ready to upload to AMP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172D37F-14D3-4D90-91E1-68884FBA40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039" y="1340651"/>
            <a:ext cx="8503919" cy="91683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36B8B4EF-7AA0-466B-87BB-E8ECE2C1DD34}"/>
              </a:ext>
            </a:extLst>
          </p:cNvPr>
          <p:cNvSpPr/>
          <p:nvPr/>
        </p:nvSpPr>
        <p:spPr>
          <a:xfrm>
            <a:off x="1141171" y="1338447"/>
            <a:ext cx="1214323" cy="24765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832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8D3655D-6BE7-474C-90BB-2311BE75F6A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Application</a:t>
            </a:r>
            <a:br>
              <a:rPr lang="en-US" sz="3200" dirty="0"/>
            </a:b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87E46-593D-4A6D-B419-65A9243487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858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1E9B857C-1185-49EC-849C-F9DF84B1D7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535" y="366946"/>
            <a:ext cx="5201767" cy="328617"/>
          </a:xfrm>
        </p:spPr>
        <p:txBody>
          <a:bodyPr/>
          <a:lstStyle/>
          <a:p>
            <a:r>
              <a:rPr lang="en-US" sz="18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Initialization in Pyth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C9A5D0-4EC0-4BEA-B52B-CA0925FAB2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535" y="3038281"/>
            <a:ext cx="7983064" cy="1343212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7CA3DECC-EFF5-4DA5-B189-3C49FD9D7DAB}"/>
              </a:ext>
            </a:extLst>
          </p:cNvPr>
          <p:cNvSpPr txBox="1">
            <a:spLocks/>
          </p:cNvSpPr>
          <p:nvPr/>
        </p:nvSpPr>
        <p:spPr bwMode="gray">
          <a:xfrm>
            <a:off x="518535" y="732316"/>
            <a:ext cx="7983064" cy="2692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/>
              </a:buClr>
              <a:buFont typeface="Arial" pitchFamily="34" charset="0"/>
              <a:buNone/>
              <a:defRPr sz="1600" b="1" kern="120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158472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/>
              </a:buClr>
              <a:buSzPct val="80000"/>
              <a:buFont typeface="Courier New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ts val="135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ts val="135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</a:rPr>
              <a:t>Open the working folder   -&gt;   Copy path   -&gt;   Paste at the </a:t>
            </a:r>
            <a:r>
              <a:rPr lang="en-US" sz="1400" dirty="0" err="1">
                <a:solidFill>
                  <a:schemeClr val="tx1"/>
                </a:solidFill>
              </a:rPr>
              <a:t>os.chdir</a:t>
            </a:r>
            <a:r>
              <a:rPr lang="en-US" sz="1400" dirty="0">
                <a:solidFill>
                  <a:schemeClr val="tx1"/>
                </a:solidFill>
              </a:rPr>
              <a:t>() line in code   -&gt;   Ru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1FFFCD0-6B3F-4AD4-8DB3-1464D4DA6324}"/>
              </a:ext>
            </a:extLst>
          </p:cNvPr>
          <p:cNvGrpSpPr/>
          <p:nvPr/>
        </p:nvGrpSpPr>
        <p:grpSpPr>
          <a:xfrm>
            <a:off x="1513403" y="1067598"/>
            <a:ext cx="5840881" cy="1904635"/>
            <a:chOff x="1513403" y="1067598"/>
            <a:chExt cx="5840881" cy="190463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FC71467-A02D-4107-9CFE-42A923616FF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13403" y="1067598"/>
              <a:ext cx="5840881" cy="1904635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D3C43A7-A285-4C4F-82F2-E96D44516EE1}"/>
                </a:ext>
              </a:extLst>
            </p:cNvPr>
            <p:cNvSpPr/>
            <p:nvPr/>
          </p:nvSpPr>
          <p:spPr>
            <a:xfrm>
              <a:off x="2247834" y="1523731"/>
              <a:ext cx="700192" cy="122189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60269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0712EFE-4F25-42B0-83B1-7C98E96E6F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985" r="23389"/>
          <a:stretch/>
        </p:blipFill>
        <p:spPr>
          <a:xfrm>
            <a:off x="4813402" y="1382115"/>
            <a:ext cx="3689895" cy="216621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2240BE3-F761-4302-AC8C-35DE7750AB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535" y="873966"/>
            <a:ext cx="3723613" cy="2320452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1A621930-8769-4A19-B591-0C9FC820C828}"/>
              </a:ext>
            </a:extLst>
          </p:cNvPr>
          <p:cNvSpPr txBox="1">
            <a:spLocks/>
          </p:cNvSpPr>
          <p:nvPr/>
        </p:nvSpPr>
        <p:spPr bwMode="gray">
          <a:xfrm>
            <a:off x="518535" y="366946"/>
            <a:ext cx="5201767" cy="328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/>
              </a:buClr>
              <a:buFont typeface="Arial" pitchFamily="34" charset="0"/>
              <a:buNone/>
              <a:defRPr sz="1600" b="1" kern="120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158472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/>
              </a:buClr>
              <a:buSzPct val="80000"/>
              <a:buFont typeface="Courier New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ts val="135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ts val="135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In the App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70FCD6-CED9-4F0C-8AA3-6E655E19A9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836" y="3194418"/>
            <a:ext cx="3663009" cy="89077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6F768DD-112F-4E65-AA9C-65C4FE33B9F2}"/>
              </a:ext>
            </a:extLst>
          </p:cNvPr>
          <p:cNvSpPr txBox="1"/>
          <p:nvPr/>
        </p:nvSpPr>
        <p:spPr>
          <a:xfrm>
            <a:off x="4596443" y="3670707"/>
            <a:ext cx="254377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2. Comp Grid (AMP input)</a:t>
            </a:r>
          </a:p>
          <a:p>
            <a:endParaRPr lang="en-US" sz="1600" dirty="0"/>
          </a:p>
          <a:p>
            <a:r>
              <a:rPr lang="en-US" sz="1600" dirty="0"/>
              <a:t>3. Comp Matrix</a:t>
            </a: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CAAEC6D8-AB4A-4652-A142-BA7E04AE993B}"/>
              </a:ext>
            </a:extLst>
          </p:cNvPr>
          <p:cNvSpPr/>
          <p:nvPr/>
        </p:nvSpPr>
        <p:spPr>
          <a:xfrm>
            <a:off x="4272449" y="2465222"/>
            <a:ext cx="540953" cy="3286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3B204C-C750-4A0D-A9CB-24FA71C65871}"/>
              </a:ext>
            </a:extLst>
          </p:cNvPr>
          <p:cNvSpPr txBox="1"/>
          <p:nvPr/>
        </p:nvSpPr>
        <p:spPr>
          <a:xfrm>
            <a:off x="4571999" y="905254"/>
            <a:ext cx="18349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1. Summary Tab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A7EA675-AFBA-4334-A6DE-BBD31EF39AC0}"/>
              </a:ext>
            </a:extLst>
          </p:cNvPr>
          <p:cNvSpPr txBox="1">
            <a:spLocks/>
          </p:cNvSpPr>
          <p:nvPr/>
        </p:nvSpPr>
        <p:spPr>
          <a:xfrm>
            <a:off x="390449" y="681552"/>
            <a:ext cx="8363101" cy="247650"/>
          </a:xfrm>
          <a:prstGeom prst="rect">
            <a:avLst/>
          </a:prstGeom>
        </p:spPr>
        <p:txBody>
          <a:bodyPr/>
          <a:lstStyle>
            <a:lvl1pPr marL="170260" indent="-17026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006" indent="-167879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77466" indent="-171450" algn="l" defTabSz="158472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/>
              </a:buClr>
              <a:buSzPct val="80000"/>
              <a:buFont typeface="Courier New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ts val="135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ts val="135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Just click as guided</a:t>
            </a:r>
          </a:p>
        </p:txBody>
      </p:sp>
    </p:spTree>
    <p:extLst>
      <p:ext uri="{BB962C8B-B14F-4D97-AF65-F5344CB8AC3E}">
        <p14:creationId xmlns:p14="http://schemas.microsoft.com/office/powerpoint/2010/main" val="2996104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E1F3725-C4E6-400C-9D0B-79AE0E049B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522BE5A4-A3E3-424C-B4FF-850F4474F1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8945" y="1567706"/>
            <a:ext cx="5201767" cy="1391291"/>
          </a:xfrm>
        </p:spPr>
        <p:txBody>
          <a:bodyPr/>
          <a:lstStyle/>
          <a:p>
            <a:r>
              <a:rPr lang="en-US" sz="3200" dirty="0"/>
              <a:t>Common errors and solutions</a:t>
            </a:r>
            <a:br>
              <a:rPr lang="en-US" sz="3200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02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530C54-422C-49A4-85C8-62E0EA80F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ermissionError</a:t>
            </a:r>
            <a:r>
              <a:rPr lang="en-US" dirty="0"/>
              <a:t>: [</a:t>
            </a:r>
            <a:r>
              <a:rPr lang="en-US" dirty="0" err="1"/>
              <a:t>Errno</a:t>
            </a:r>
            <a:r>
              <a:rPr lang="en-US" dirty="0"/>
              <a:t> 13] Permission denied: 'C:\\Users\\****\\Desktop\\File1'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A0D991-F2CD-4CDC-8368-CFB204A55F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0040" y="1063172"/>
            <a:ext cx="8503919" cy="247650"/>
          </a:xfrm>
        </p:spPr>
        <p:txBody>
          <a:bodyPr/>
          <a:lstStyle/>
          <a:p>
            <a:r>
              <a:rPr lang="en-US" dirty="0"/>
              <a:t>Solution: close input files before runn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73D9E2-73D5-4210-8CDD-02195F5EC1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040" y="1765430"/>
            <a:ext cx="7535327" cy="231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36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 bwMode="gray">
          <a:xfrm>
            <a:off x="498945" y="2141355"/>
            <a:ext cx="5630725" cy="191496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en-US" dirty="0"/>
              <a:t>QUESTIONS </a:t>
            </a:r>
            <a:br>
              <a:rPr lang="en-US" dirty="0"/>
            </a:br>
            <a:r>
              <a:rPr lang="en-US" dirty="0"/>
              <a:t>&amp; NEXT STEPS</a:t>
            </a:r>
          </a:p>
        </p:txBody>
      </p:sp>
    </p:spTree>
    <p:extLst>
      <p:ext uri="{BB962C8B-B14F-4D97-AF65-F5344CB8AC3E}">
        <p14:creationId xmlns:p14="http://schemas.microsoft.com/office/powerpoint/2010/main" val="453799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 bwMode="gray">
          <a:xfrm>
            <a:off x="670865" y="1064868"/>
            <a:ext cx="2050870" cy="1545030"/>
            <a:chOff x="-370169" y="1458432"/>
            <a:chExt cx="1968894" cy="1697723"/>
          </a:xfrm>
        </p:grpSpPr>
        <p:grpSp>
          <p:nvGrpSpPr>
            <p:cNvPr id="4" name="Group 3"/>
            <p:cNvGrpSpPr/>
            <p:nvPr/>
          </p:nvGrpSpPr>
          <p:grpSpPr bwMode="gray">
            <a:xfrm>
              <a:off x="-359861" y="1458432"/>
              <a:ext cx="1958586" cy="1697723"/>
              <a:chOff x="-359861" y="1458432"/>
              <a:chExt cx="1958586" cy="1697723"/>
            </a:xfrm>
          </p:grpSpPr>
          <p:sp>
            <p:nvSpPr>
              <p:cNvPr id="6" name="Oval 5"/>
              <p:cNvSpPr/>
              <p:nvPr/>
            </p:nvSpPr>
            <p:spPr bwMode="gray">
              <a:xfrm>
                <a:off x="-359861" y="1458432"/>
                <a:ext cx="1958586" cy="1697723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7" name="Oval 6"/>
              <p:cNvSpPr/>
              <p:nvPr/>
            </p:nvSpPr>
            <p:spPr bwMode="gray">
              <a:xfrm>
                <a:off x="-215818" y="1612100"/>
                <a:ext cx="1670501" cy="1390387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3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sp>
          <p:nvSpPr>
            <p:cNvPr id="5" name="TextBox 4"/>
            <p:cNvSpPr txBox="1"/>
            <p:nvPr/>
          </p:nvSpPr>
          <p:spPr bwMode="gray">
            <a:xfrm>
              <a:off x="-370169" y="1844600"/>
              <a:ext cx="195858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REPLACE </a:t>
              </a:r>
              <a:br>
                <a:rPr lang="en-US" b="1" dirty="0">
                  <a:solidFill>
                    <a:schemeClr val="bg1"/>
                  </a:solidFill>
                </a:rPr>
              </a:br>
              <a:r>
                <a:rPr lang="en-US" b="1" dirty="0">
                  <a:solidFill>
                    <a:schemeClr val="bg1"/>
                  </a:solidFill>
                </a:rPr>
                <a:t>WITH CLIENT</a:t>
              </a:r>
            </a:p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LOG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5965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D5287F1-FB63-4F3B-9F20-1CC24A8BB0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4150" y="2888834"/>
            <a:ext cx="4494027" cy="1790743"/>
          </a:xfrm>
        </p:spPr>
        <p:txBody>
          <a:bodyPr/>
          <a:lstStyle/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Introduction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Prepare input files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Initialization in Python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Application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Common errors and solutions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200" dirty="0"/>
              <a:t>To develop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8F1BBB5-7885-4862-8DBC-AA8D7BBF3A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3018" y="2081955"/>
            <a:ext cx="5201767" cy="529840"/>
          </a:xfrm>
        </p:spPr>
        <p:txBody>
          <a:bodyPr vert="horz"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2611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498945" y="3120365"/>
            <a:ext cx="5206736" cy="465554"/>
          </a:xfrm>
        </p:spPr>
        <p:txBody>
          <a:bodyPr/>
          <a:lstStyle/>
          <a:p>
            <a:r>
              <a:rPr lang="en-US" dirty="0"/>
              <a:t>What, Why, How, When, Who</a:t>
            </a: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498945" y="1551082"/>
            <a:ext cx="5201767" cy="1391291"/>
          </a:xfrm>
        </p:spPr>
        <p:txBody>
          <a:bodyPr/>
          <a:lstStyle/>
          <a:p>
            <a:r>
              <a:rPr lang="en-US" dirty="0"/>
              <a:t>Introduction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65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 bwMode="gray">
          <a:xfrm>
            <a:off x="320040" y="881059"/>
            <a:ext cx="8503919" cy="310704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0" dirty="0"/>
              <a:t>What</a:t>
            </a:r>
            <a:r>
              <a:rPr lang="en-US" i="0" dirty="0"/>
              <a:t> is it: </a:t>
            </a:r>
          </a:p>
          <a:p>
            <a:pPr marL="548877" lvl="1" indent="-285750">
              <a:buFont typeface="Arial" panose="020B0604020202020204" pitchFamily="34" charset="0"/>
              <a:buChar char="•"/>
            </a:pPr>
            <a:r>
              <a:rPr lang="en-US" i="0" dirty="0"/>
              <a:t>A Python script to automate the generation of Comp Gr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0" dirty="0"/>
              <a:t>Who</a:t>
            </a:r>
            <a:r>
              <a:rPr lang="en-US" i="0" dirty="0"/>
              <a:t> are users: </a:t>
            </a:r>
          </a:p>
          <a:p>
            <a:pPr marL="548877" lvl="1" indent="-285750">
              <a:buFont typeface="Arial" panose="020B0604020202020204" pitchFamily="34" charset="0"/>
              <a:buChar char="•"/>
            </a:pPr>
            <a:r>
              <a:rPr lang="en-US" i="0" dirty="0"/>
              <a:t>The pricing project manag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0" dirty="0"/>
              <a:t>When</a:t>
            </a:r>
            <a:r>
              <a:rPr lang="en-US" i="0" dirty="0"/>
              <a:t> to use: </a:t>
            </a:r>
          </a:p>
          <a:p>
            <a:pPr marL="548877" lvl="1" indent="-285750">
              <a:buFont typeface="Arial" panose="020B0604020202020204" pitchFamily="34" charset="0"/>
              <a:buChar char="•"/>
            </a:pPr>
            <a:r>
              <a:rPr lang="en-US" i="0" dirty="0"/>
              <a:t>After finalizing PPG definition, before uploading Comp Grid to AM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0" dirty="0"/>
              <a:t>Why</a:t>
            </a:r>
            <a:r>
              <a:rPr lang="en-US" i="0" dirty="0"/>
              <a:t> do we create it: </a:t>
            </a:r>
          </a:p>
          <a:p>
            <a:pPr marL="548877" lvl="1" indent="-285750">
              <a:buFont typeface="Arial" panose="020B0604020202020204" pitchFamily="34" charset="0"/>
              <a:buChar char="•"/>
            </a:pPr>
            <a:r>
              <a:rPr lang="en-US" i="0" dirty="0"/>
              <a:t>Efficiency: Manually generating comp grid takes multiple hours, or even days</a:t>
            </a:r>
          </a:p>
          <a:p>
            <a:pPr marL="548877" lvl="1" indent="-285750">
              <a:buFont typeface="Arial" panose="020B0604020202020204" pitchFamily="34" charset="0"/>
              <a:buChar char="•"/>
            </a:pPr>
            <a:r>
              <a:rPr lang="en-US" i="0" dirty="0"/>
              <a:t>Consistency: “Your Brain Isn’t Wired for Consistency” - Noa </a:t>
            </a:r>
            <a:r>
              <a:rPr lang="en-US" i="0" dirty="0" err="1"/>
              <a:t>Kageyama</a:t>
            </a:r>
            <a:r>
              <a:rPr lang="en-US" i="0" dirty="0"/>
              <a:t>, Ph.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0" dirty="0"/>
              <a:t>How </a:t>
            </a:r>
            <a:r>
              <a:rPr lang="en-US" i="0" dirty="0"/>
              <a:t>does it work:</a:t>
            </a:r>
          </a:p>
          <a:p>
            <a:pPr marL="548877" lvl="1" indent="-285750">
              <a:buFont typeface="Arial" panose="020B0604020202020204" pitchFamily="34" charset="0"/>
              <a:buChar char="•"/>
            </a:pPr>
            <a:r>
              <a:rPr lang="en-US" b="1" i="0" dirty="0"/>
              <a:t>The machine generates Comp Grid based on defined PPGs list and interaction rules</a:t>
            </a:r>
          </a:p>
        </p:txBody>
      </p:sp>
      <p:sp>
        <p:nvSpPr>
          <p:cNvPr id="5" name="McK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53515" y="4524328"/>
            <a:ext cx="8412480" cy="136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noAutofit/>
          </a:bodyPr>
          <a:lstStyle/>
          <a:p>
            <a:pPr marL="586341" indent="-586341" algn="r" defTabSz="913526">
              <a:tabLst>
                <a:tab pos="544228" algn="r"/>
              </a:tabLst>
            </a:pPr>
            <a:r>
              <a:rPr lang="en-US" altLang="zh-CN" sz="600" i="1" dirty="0">
                <a:ea typeface="宋体" pitchFamily="2" charset="-122"/>
                <a:sym typeface="Arial"/>
              </a:rPr>
              <a:t>Source: Italicized Text (6 point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C6B0D63-10A5-4A50-910F-89E3CAFB8C4D}"/>
              </a:ext>
            </a:extLst>
          </p:cNvPr>
          <p:cNvGrpSpPr/>
          <p:nvPr/>
        </p:nvGrpSpPr>
        <p:grpSpPr>
          <a:xfrm>
            <a:off x="1370518" y="3988848"/>
            <a:ext cx="5112599" cy="1035739"/>
            <a:chOff x="1158378" y="3923012"/>
            <a:chExt cx="5112599" cy="103573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ACF8BF6-5148-4E4C-B798-4FE674093D14}"/>
                </a:ext>
              </a:extLst>
            </p:cNvPr>
            <p:cNvSpPr/>
            <p:nvPr/>
          </p:nvSpPr>
          <p:spPr>
            <a:xfrm>
              <a:off x="3072385" y="3923012"/>
              <a:ext cx="2501798" cy="80616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Comp Grid Automation</a:t>
              </a: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6BA31E01-D2F5-44A0-9AE8-0ABAE6EE7926}"/>
                </a:ext>
              </a:extLst>
            </p:cNvPr>
            <p:cNvCxnSpPr>
              <a:cxnSpLocks/>
              <a:endCxn id="4" idx="1"/>
            </p:cNvCxnSpPr>
            <p:nvPr/>
          </p:nvCxnSpPr>
          <p:spPr>
            <a:xfrm>
              <a:off x="1183981" y="4326095"/>
              <a:ext cx="1888404" cy="0"/>
            </a:xfrm>
            <a:prstGeom prst="straightConnector1">
              <a:avLst/>
            </a:prstGeom>
            <a:ln>
              <a:solidFill>
                <a:srgbClr val="0033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6C35FF1B-B3A2-44F3-8662-23C0199CC27B}"/>
                </a:ext>
              </a:extLst>
            </p:cNvPr>
            <p:cNvCxnSpPr>
              <a:cxnSpLocks/>
            </p:cNvCxnSpPr>
            <p:nvPr/>
          </p:nvCxnSpPr>
          <p:spPr>
            <a:xfrm>
              <a:off x="5574183" y="4326095"/>
              <a:ext cx="512063" cy="0"/>
            </a:xfrm>
            <a:prstGeom prst="straightConnector1">
              <a:avLst/>
            </a:prstGeom>
            <a:ln>
              <a:solidFill>
                <a:srgbClr val="0033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6869D7B-FE27-474E-8AA2-5186F0697640}"/>
                </a:ext>
              </a:extLst>
            </p:cNvPr>
            <p:cNvSpPr txBox="1"/>
            <p:nvPr/>
          </p:nvSpPr>
          <p:spPr>
            <a:xfrm>
              <a:off x="1561361" y="3990514"/>
              <a:ext cx="11336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PPGs list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461D294-F48D-43DB-97E0-CB46AF795872}"/>
                </a:ext>
              </a:extLst>
            </p:cNvPr>
            <p:cNvSpPr txBox="1"/>
            <p:nvPr/>
          </p:nvSpPr>
          <p:spPr>
            <a:xfrm>
              <a:off x="1158378" y="4312420"/>
              <a:ext cx="193961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Interaction Rules</a:t>
              </a:r>
            </a:p>
            <a:p>
              <a:pPr algn="ctr"/>
              <a:r>
                <a:rPr lang="en-US" dirty="0"/>
                <a:t>(IRE/Score)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F12952E-2A8C-448D-A2A3-B1FB887EFF5F}"/>
                </a:ext>
              </a:extLst>
            </p:cNvPr>
            <p:cNvSpPr txBox="1"/>
            <p:nvPr/>
          </p:nvSpPr>
          <p:spPr>
            <a:xfrm>
              <a:off x="6086246" y="3943088"/>
              <a:ext cx="1847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dirty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89BEA8EA-C2BA-4FBC-B7F4-FB10F9E3F599}"/>
              </a:ext>
            </a:extLst>
          </p:cNvPr>
          <p:cNvSpPr txBox="1"/>
          <p:nvPr/>
        </p:nvSpPr>
        <p:spPr>
          <a:xfrm>
            <a:off x="6298386" y="4391931"/>
            <a:ext cx="1492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mp Matri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06060D7-16F3-4EFE-98F6-009405E461FB}"/>
              </a:ext>
            </a:extLst>
          </p:cNvPr>
          <p:cNvSpPr txBox="1"/>
          <p:nvPr/>
        </p:nvSpPr>
        <p:spPr>
          <a:xfrm>
            <a:off x="6298386" y="4040637"/>
            <a:ext cx="25785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mp Grid (AMP input)</a:t>
            </a:r>
          </a:p>
        </p:txBody>
      </p:sp>
    </p:spTree>
    <p:extLst>
      <p:ext uri="{BB962C8B-B14F-4D97-AF65-F5344CB8AC3E}">
        <p14:creationId xmlns:p14="http://schemas.microsoft.com/office/powerpoint/2010/main" val="953512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CFFDA-0B6E-43C4-9DBC-0625E50B8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action Metho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7EAB61-78F3-4B27-BB75-F155C1B7F7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041" y="1342769"/>
            <a:ext cx="5115154" cy="3170710"/>
          </a:xfrm>
        </p:spPr>
        <p:txBody>
          <a:bodyPr/>
          <a:lstStyle/>
          <a:p>
            <a:r>
              <a:rPr lang="en-US" sz="1200" dirty="0"/>
              <a:t>Ignore, Regular, Expected (IRE)</a:t>
            </a:r>
          </a:p>
          <a:p>
            <a:pPr lvl="1"/>
            <a:r>
              <a:rPr lang="en-US" sz="1200" dirty="0"/>
              <a:t>The regular, most common method to evaluate the interaction type between PPGs</a:t>
            </a:r>
          </a:p>
          <a:p>
            <a:pPr lvl="1"/>
            <a:r>
              <a:rPr lang="en-US" sz="1200" dirty="0"/>
              <a:t>Explanation:</a:t>
            </a:r>
          </a:p>
          <a:p>
            <a:pPr lvl="2"/>
            <a:r>
              <a:rPr lang="en-US" sz="1200" dirty="0"/>
              <a:t>If there is any (Blank) interaction across attributes between two PPGs, their interaction is </a:t>
            </a:r>
            <a:r>
              <a:rPr lang="en-US" sz="1200" b="1" i="1" dirty="0"/>
              <a:t>Ignore</a:t>
            </a:r>
            <a:r>
              <a:rPr lang="en-US" sz="1200" i="1" dirty="0"/>
              <a:t> (0)</a:t>
            </a:r>
          </a:p>
          <a:p>
            <a:pPr lvl="2"/>
            <a:r>
              <a:rPr lang="en-US" sz="1200" dirty="0"/>
              <a:t>If there is no (Blank) and at least one Weak interaction across attributes between two PPGs, their interaction is </a:t>
            </a:r>
            <a:r>
              <a:rPr lang="en-US" sz="1200" b="1" i="1" dirty="0"/>
              <a:t>Regular</a:t>
            </a:r>
            <a:r>
              <a:rPr lang="en-US" sz="1200" i="1" dirty="0"/>
              <a:t> (1)</a:t>
            </a:r>
          </a:p>
          <a:p>
            <a:pPr lvl="2"/>
            <a:r>
              <a:rPr lang="en-US" sz="1200" dirty="0"/>
              <a:t>If there are all STRONG interactions across attributes between two PPGs, their interaction is </a:t>
            </a:r>
            <a:r>
              <a:rPr lang="en-US" sz="1200" b="1" i="1" dirty="0"/>
              <a:t>Expected</a:t>
            </a:r>
            <a:r>
              <a:rPr lang="en-US" sz="1200" i="1" dirty="0"/>
              <a:t> (2)</a:t>
            </a:r>
          </a:p>
          <a:p>
            <a:pPr lvl="2"/>
            <a:r>
              <a:rPr lang="en-US" sz="1200" i="1" dirty="0"/>
              <a:t>PPG’s interaction with itself is showed as “X”</a:t>
            </a:r>
            <a:endParaRPr lang="en-US" sz="1200" dirty="0"/>
          </a:p>
          <a:p>
            <a:r>
              <a:rPr lang="en-US" sz="1200" dirty="0"/>
              <a:t>Score</a:t>
            </a:r>
          </a:p>
          <a:p>
            <a:pPr lvl="1"/>
            <a:r>
              <a:rPr lang="en-US" sz="1200" dirty="0"/>
              <a:t>A highly flexible method based on addition of numbers pre-assigned in interaction rule matri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E64E13-505E-4F09-9E61-B8C0FB864C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hat is IRE and Scor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20F124-C665-4563-9EF2-028D097F69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1257" y="1935461"/>
            <a:ext cx="3719138" cy="8792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D2BE11C-58CD-4517-9415-A12CCAD674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9217" y="3428013"/>
            <a:ext cx="5038189" cy="32843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499B401-B2B8-40B8-A46B-2962A630E736}"/>
              </a:ext>
            </a:extLst>
          </p:cNvPr>
          <p:cNvSpPr/>
          <p:nvPr/>
        </p:nvSpPr>
        <p:spPr>
          <a:xfrm>
            <a:off x="6210607" y="2587063"/>
            <a:ext cx="468173" cy="24765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DD65190-BBB6-428F-A436-09B129DB39C9}"/>
              </a:ext>
            </a:extLst>
          </p:cNvPr>
          <p:cNvSpPr/>
          <p:nvPr/>
        </p:nvSpPr>
        <p:spPr>
          <a:xfrm>
            <a:off x="8567523" y="3408028"/>
            <a:ext cx="512872" cy="34842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58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BDA75-AA78-4FF1-8DD7-DD8DDC91F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the outpu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23C700-0B5D-42C8-8099-DE183CCD57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4985" y="1099528"/>
            <a:ext cx="2123237" cy="247650"/>
          </a:xfrm>
        </p:spPr>
        <p:txBody>
          <a:bodyPr/>
          <a:lstStyle/>
          <a:p>
            <a:pPr algn="ctr"/>
            <a:r>
              <a:rPr lang="en-US" dirty="0"/>
              <a:t>Comp Grid (AMP input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525C4F-E995-42B6-9FDD-2DE5E24B8CE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3210" t="11517" r="3210" b="1691"/>
          <a:stretch/>
        </p:blipFill>
        <p:spPr>
          <a:xfrm>
            <a:off x="197162" y="1375892"/>
            <a:ext cx="3827534" cy="29711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C9BFF67-0A46-463E-8C37-8255F982F9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7107" y="1429848"/>
            <a:ext cx="4879731" cy="2706151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C7EBA79-6E75-49AA-B1AE-48A905E51940}"/>
              </a:ext>
            </a:extLst>
          </p:cNvPr>
          <p:cNvSpPr txBox="1">
            <a:spLocks/>
          </p:cNvSpPr>
          <p:nvPr/>
        </p:nvSpPr>
        <p:spPr bwMode="gray">
          <a:xfrm>
            <a:off x="5673548" y="1099528"/>
            <a:ext cx="2123237" cy="2476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/>
              </a:buClr>
              <a:buFont typeface="Arial" pitchFamily="34" charset="0"/>
              <a:buNone/>
              <a:defRPr sz="14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127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/>
              </a:buClr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6016" indent="0" algn="l" defTabSz="158472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/>
              </a:buClr>
              <a:buSzPct val="80000"/>
              <a:buFont typeface="Courier New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ts val="135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ts val="135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Comp Matrix</a:t>
            </a:r>
          </a:p>
        </p:txBody>
      </p:sp>
    </p:spTree>
    <p:extLst>
      <p:ext uri="{BB962C8B-B14F-4D97-AF65-F5344CB8AC3E}">
        <p14:creationId xmlns:p14="http://schemas.microsoft.com/office/powerpoint/2010/main" val="1027278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0A85AFD-4086-4F90-B49C-38D5C8CE8D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8944" y="3120364"/>
            <a:ext cx="6282245" cy="1319961"/>
          </a:xfrm>
        </p:spPr>
        <p:txBody>
          <a:bodyPr/>
          <a:lstStyle/>
          <a:p>
            <a:r>
              <a:rPr lang="en-US" dirty="0"/>
              <a:t>Required:	PPGs_Attributes.xlsx</a:t>
            </a:r>
          </a:p>
          <a:p>
            <a:r>
              <a:rPr lang="en-US" dirty="0"/>
              <a:t>		Interaction_Rules.xlsx</a:t>
            </a:r>
          </a:p>
          <a:p>
            <a:r>
              <a:rPr lang="en-US" dirty="0"/>
              <a:t>Optional:</a:t>
            </a:r>
          </a:p>
          <a:p>
            <a:r>
              <a:rPr lang="en-US" dirty="0"/>
              <a:t>		AMP_RGM_ClientName_CUSTOME_PPG_List.csv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201537-2926-431D-86E0-009850737D0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Prepare input files</a:t>
            </a:r>
            <a:br>
              <a:rPr lang="en-US" sz="3200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427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PGs_Attributes.xlsx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0040" y="1296423"/>
            <a:ext cx="4127602" cy="3281619"/>
          </a:xfrm>
        </p:spPr>
        <p:txBody>
          <a:bodyPr/>
          <a:lstStyle/>
          <a:p>
            <a:pPr>
              <a:lnSpc>
                <a:spcPct val="200000"/>
              </a:lnSpc>
            </a:pPr>
            <a:r>
              <a:rPr lang="en-US" dirty="0"/>
              <a:t>The first two columns must be &lt;PPG Name&gt; and &lt;</a:t>
            </a:r>
            <a:r>
              <a:rPr lang="en-US" dirty="0" err="1"/>
              <a:t>IsTarget</a:t>
            </a:r>
            <a:r>
              <a:rPr lang="en-US" dirty="0"/>
              <a:t>&gt;</a:t>
            </a:r>
          </a:p>
          <a:p>
            <a:pPr>
              <a:lnSpc>
                <a:spcPct val="200000"/>
              </a:lnSpc>
            </a:pPr>
            <a:r>
              <a:rPr lang="en-US" dirty="0"/>
              <a:t>Column &lt;</a:t>
            </a:r>
            <a:r>
              <a:rPr lang="en-US" dirty="0" err="1"/>
              <a:t>IsTarget</a:t>
            </a:r>
            <a:r>
              <a:rPr lang="en-US" dirty="0"/>
              <a:t>&gt; is </a:t>
            </a:r>
            <a:r>
              <a:rPr lang="en-US" b="1" dirty="0"/>
              <a:t>binary</a:t>
            </a:r>
            <a:r>
              <a:rPr lang="en-US" dirty="0"/>
              <a:t>: 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target PPGs = 1, competitor PPGs = 0</a:t>
            </a:r>
          </a:p>
          <a:p>
            <a:pPr>
              <a:lnSpc>
                <a:spcPct val="200000"/>
              </a:lnSpc>
            </a:pPr>
            <a:r>
              <a:rPr lang="en-US" dirty="0"/>
              <a:t>The rest columns must be attributes</a:t>
            </a:r>
          </a:p>
          <a:p>
            <a:pPr>
              <a:lnSpc>
                <a:spcPct val="200000"/>
              </a:lnSpc>
            </a:pPr>
            <a:r>
              <a:rPr lang="en-US" dirty="0"/>
              <a:t>No limit on the number of attribut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1DB19CE-2070-4B97-993A-13068F391D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7685" y="334677"/>
            <a:ext cx="2999230" cy="4474146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C988C85-67C2-4EAE-9497-698665D6EC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file including PPG names, recognizer and attributes</a:t>
            </a:r>
          </a:p>
        </p:txBody>
      </p:sp>
    </p:spTree>
    <p:extLst>
      <p:ext uri="{BB962C8B-B14F-4D97-AF65-F5344CB8AC3E}">
        <p14:creationId xmlns:p14="http://schemas.microsoft.com/office/powerpoint/2010/main" val="169904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F5522C46-DDFB-4655-BC63-13C768A044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8213" y="2362474"/>
            <a:ext cx="3216072" cy="114458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ED2E932-7B4A-4D75-86A6-D0961FAC9E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8213" y="1701951"/>
            <a:ext cx="3038899" cy="4572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action_Rules.xlsx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0040" y="1368234"/>
            <a:ext cx="4251960" cy="3281619"/>
          </a:xfrm>
        </p:spPr>
        <p:txBody>
          <a:bodyPr/>
          <a:lstStyle/>
          <a:p>
            <a:r>
              <a:rPr lang="en-US" dirty="0"/>
              <a:t>The tab names must be exactly the attribute names in PPGs_Attributes.xlsx</a:t>
            </a:r>
          </a:p>
          <a:p>
            <a:r>
              <a:rPr lang="en-US" dirty="0"/>
              <a:t>The A1 cell value must be exactly the same as the tab name</a:t>
            </a:r>
          </a:p>
          <a:p>
            <a:endParaRPr lang="en-US" dirty="0"/>
          </a:p>
          <a:p>
            <a:r>
              <a:rPr lang="en-US" dirty="0"/>
              <a:t>Both Col A and Row 1 must be a complete list of attribute levels</a:t>
            </a:r>
          </a:p>
          <a:p>
            <a:r>
              <a:rPr lang="en-US" dirty="0"/>
              <a:t>For &lt;Score&gt; method:</a:t>
            </a:r>
          </a:p>
          <a:p>
            <a:pPr lvl="1"/>
            <a:r>
              <a:rPr lang="en-US" dirty="0"/>
              <a:t>Values in the matrix must be numeric (no blank)</a:t>
            </a:r>
          </a:p>
          <a:p>
            <a:r>
              <a:rPr lang="en-US" dirty="0"/>
              <a:t>For &lt;IRE&gt; method:</a:t>
            </a:r>
          </a:p>
          <a:p>
            <a:pPr lvl="1"/>
            <a:r>
              <a:rPr lang="en-US" dirty="0"/>
              <a:t>Values must be </a:t>
            </a:r>
            <a:r>
              <a:rPr lang="en-US" i="1" dirty="0"/>
              <a:t>Strong / Weak / (blank)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file including attribute interaction matric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8D8D913-123E-4A90-B541-E31959DDD5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8213" y="3820801"/>
            <a:ext cx="3952305" cy="10453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73026FE-6834-42C4-885E-BBB77D716B9D}"/>
              </a:ext>
            </a:extLst>
          </p:cNvPr>
          <p:cNvSpPr/>
          <p:nvPr/>
        </p:nvSpPr>
        <p:spPr>
          <a:xfrm>
            <a:off x="2052827" y="2296973"/>
            <a:ext cx="1146660" cy="26746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Tab Nam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C723D2-3358-4C65-93B3-C5DE2A059DC1}"/>
              </a:ext>
            </a:extLst>
          </p:cNvPr>
          <p:cNvSpPr/>
          <p:nvPr/>
        </p:nvSpPr>
        <p:spPr>
          <a:xfrm>
            <a:off x="3603257" y="2296973"/>
            <a:ext cx="930081" cy="26746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1 Valu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F6F80A-7F8E-42EF-9DA3-DC1CFD7936F8}"/>
              </a:ext>
            </a:extLst>
          </p:cNvPr>
          <p:cNvSpPr/>
          <p:nvPr/>
        </p:nvSpPr>
        <p:spPr>
          <a:xfrm>
            <a:off x="320040" y="2304288"/>
            <a:ext cx="1363367" cy="26746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ttribute Cols</a:t>
            </a:r>
          </a:p>
        </p:txBody>
      </p:sp>
      <p:sp>
        <p:nvSpPr>
          <p:cNvPr id="15" name="Equals 14">
            <a:extLst>
              <a:ext uri="{FF2B5EF4-FFF2-40B4-BE49-F238E27FC236}">
                <a16:creationId xmlns:a16="http://schemas.microsoft.com/office/drawing/2014/main" id="{18B3C006-F8DB-4AA9-8F18-1D63ABD161ED}"/>
              </a:ext>
            </a:extLst>
          </p:cNvPr>
          <p:cNvSpPr/>
          <p:nvPr/>
        </p:nvSpPr>
        <p:spPr>
          <a:xfrm>
            <a:off x="1750294" y="2304288"/>
            <a:ext cx="256032" cy="267462"/>
          </a:xfrm>
          <a:prstGeom prst="mathEqual">
            <a:avLst/>
          </a:prstGeom>
          <a:solidFill>
            <a:srgbClr val="0033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Equals 15">
            <a:extLst>
              <a:ext uri="{FF2B5EF4-FFF2-40B4-BE49-F238E27FC236}">
                <a16:creationId xmlns:a16="http://schemas.microsoft.com/office/drawing/2014/main" id="{487D4117-355E-427F-8284-CD6882CE6219}"/>
              </a:ext>
            </a:extLst>
          </p:cNvPr>
          <p:cNvSpPr/>
          <p:nvPr/>
        </p:nvSpPr>
        <p:spPr>
          <a:xfrm>
            <a:off x="3308564" y="2311604"/>
            <a:ext cx="256032" cy="267462"/>
          </a:xfrm>
          <a:prstGeom prst="mathEqual">
            <a:avLst/>
          </a:prstGeom>
          <a:solidFill>
            <a:srgbClr val="0033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2CC6AA9-E350-45BF-B7C2-23A7100ADA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38213" y="645068"/>
            <a:ext cx="3409923" cy="78630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941A2FD6-A704-4635-9F9A-E23086A5DD5E}"/>
              </a:ext>
            </a:extLst>
          </p:cNvPr>
          <p:cNvSpPr/>
          <p:nvPr/>
        </p:nvSpPr>
        <p:spPr>
          <a:xfrm>
            <a:off x="7351776" y="747106"/>
            <a:ext cx="1214323" cy="320913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444A4A4-D97B-4407-9DCE-48A60E26D720}"/>
              </a:ext>
            </a:extLst>
          </p:cNvPr>
          <p:cNvSpPr/>
          <p:nvPr/>
        </p:nvSpPr>
        <p:spPr>
          <a:xfrm>
            <a:off x="5977638" y="1643239"/>
            <a:ext cx="1893517" cy="58275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ACE5376-DFE4-4495-BF45-2767AC1F233F}"/>
              </a:ext>
            </a:extLst>
          </p:cNvPr>
          <p:cNvSpPr/>
          <p:nvPr/>
        </p:nvSpPr>
        <p:spPr>
          <a:xfrm>
            <a:off x="5189753" y="2482782"/>
            <a:ext cx="578684" cy="26766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4AFBCA1-49BD-4C88-A512-BFF6D983CEE2}"/>
              </a:ext>
            </a:extLst>
          </p:cNvPr>
          <p:cNvCxnSpPr/>
          <p:nvPr/>
        </p:nvCxnSpPr>
        <p:spPr>
          <a:xfrm flipH="1">
            <a:off x="6664147" y="1004884"/>
            <a:ext cx="870509" cy="81660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693C9A4-0617-4966-B305-30D8FA374262}"/>
              </a:ext>
            </a:extLst>
          </p:cNvPr>
          <p:cNvCxnSpPr/>
          <p:nvPr/>
        </p:nvCxnSpPr>
        <p:spPr>
          <a:xfrm flipH="1">
            <a:off x="5830214" y="2048256"/>
            <a:ext cx="607162" cy="39707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8585EEA1-CED4-4C4C-B5CA-578F9D8B9EC4}"/>
              </a:ext>
            </a:extLst>
          </p:cNvPr>
          <p:cNvSpPr txBox="1"/>
          <p:nvPr/>
        </p:nvSpPr>
        <p:spPr>
          <a:xfrm>
            <a:off x="4662389" y="380819"/>
            <a:ext cx="10580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core method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6B29A93-D635-4E81-976E-B43C6050D126}"/>
              </a:ext>
            </a:extLst>
          </p:cNvPr>
          <p:cNvSpPr txBox="1"/>
          <p:nvPr/>
        </p:nvSpPr>
        <p:spPr>
          <a:xfrm>
            <a:off x="4662389" y="3521744"/>
            <a:ext cx="10580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IRE method </a:t>
            </a:r>
          </a:p>
        </p:txBody>
      </p:sp>
    </p:spTree>
    <p:extLst>
      <p:ext uri="{BB962C8B-B14F-4D97-AF65-F5344CB8AC3E}">
        <p14:creationId xmlns:p14="http://schemas.microsoft.com/office/powerpoint/2010/main" val="718520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n5SdyHgUCEs4r_tq2BTw"/>
</p:tagLst>
</file>

<file path=ppt/theme/theme1.xml><?xml version="1.0" encoding="utf-8"?>
<a:theme xmlns:a="http://schemas.openxmlformats.org/drawingml/2006/main" name="IRI 16.9 Template - 2021">
  <a:themeElements>
    <a:clrScheme name="IRi Documents">
      <a:dk1>
        <a:srgbClr val="616365"/>
      </a:dk1>
      <a:lt1>
        <a:sysClr val="window" lastClr="FFFFFF"/>
      </a:lt1>
      <a:dk2>
        <a:srgbClr val="616365"/>
      </a:dk2>
      <a:lt2>
        <a:srgbClr val="E0E1DD"/>
      </a:lt2>
      <a:accent1>
        <a:srgbClr val="002776"/>
      </a:accent1>
      <a:accent2>
        <a:srgbClr val="D2492A"/>
      </a:accent2>
      <a:accent3>
        <a:srgbClr val="009FDA"/>
      </a:accent3>
      <a:accent4>
        <a:srgbClr val="002776"/>
      </a:accent4>
      <a:accent5>
        <a:srgbClr val="D2492A"/>
      </a:accent5>
      <a:accent6>
        <a:srgbClr val="009FDA"/>
      </a:accent6>
      <a:hlink>
        <a:srgbClr val="009FDA"/>
      </a:hlink>
      <a:folHlink>
        <a:srgbClr val="00277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066</TotalTime>
  <Words>657</Words>
  <Application>Microsoft Office PowerPoint</Application>
  <PresentationFormat>On-screen Show (16:9)</PresentationFormat>
  <Paragraphs>98</Paragraphs>
  <Slides>17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Arial</vt:lpstr>
      <vt:lpstr>Calibri</vt:lpstr>
      <vt:lpstr>Courier New</vt:lpstr>
      <vt:lpstr>IRI 16.9 Template - 2021</vt:lpstr>
      <vt:lpstr>Comp Grid Automation </vt:lpstr>
      <vt:lpstr>Agenda</vt:lpstr>
      <vt:lpstr>Introduction </vt:lpstr>
      <vt:lpstr>Introduction</vt:lpstr>
      <vt:lpstr>Interaction Methods</vt:lpstr>
      <vt:lpstr>What are the outputs</vt:lpstr>
      <vt:lpstr>Prepare input files </vt:lpstr>
      <vt:lpstr>PPGs_Attributes.xlsx</vt:lpstr>
      <vt:lpstr>Interaction_Rules.xlsx</vt:lpstr>
      <vt:lpstr>AMP_RGM_ClientName_CUSTOME_PPG_List.csv</vt:lpstr>
      <vt:lpstr>Application </vt:lpstr>
      <vt:lpstr>PowerPoint Presentation</vt:lpstr>
      <vt:lpstr>PowerPoint Presentation</vt:lpstr>
      <vt:lpstr>Common errors and solutions </vt:lpstr>
      <vt:lpstr>PermissionError: [Errno 13] Permission denied: 'C:\\Users\\****\\Desktop\\File1'</vt:lpstr>
      <vt:lpstr>QUESTIONS  &amp; NEXT STEPS</vt:lpstr>
      <vt:lpstr>PowerPoint Presentation</vt:lpstr>
    </vt:vector>
  </TitlesOfParts>
  <Company>sgd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RI 16.9 Template - 2021</dc:title>
  <dc:creator>Amy.Smith@iriworldwide.com</dc:creator>
  <cp:lastModifiedBy>Chen, Jiajian</cp:lastModifiedBy>
  <cp:revision>759</cp:revision>
  <dcterms:created xsi:type="dcterms:W3CDTF">2014-07-24T14:31:25Z</dcterms:created>
  <dcterms:modified xsi:type="dcterms:W3CDTF">2022-08-10T18:13:00Z</dcterms:modified>
</cp:coreProperties>
</file>